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4" r:id="rId3"/>
    <p:sldId id="269" r:id="rId4"/>
    <p:sldId id="258" r:id="rId5"/>
    <p:sldId id="278" r:id="rId6"/>
    <p:sldId id="270" r:id="rId7"/>
    <p:sldId id="285" r:id="rId8"/>
    <p:sldId id="279" r:id="rId9"/>
    <p:sldId id="280" r:id="rId10"/>
    <p:sldId id="286" r:id="rId11"/>
    <p:sldId id="261" r:id="rId12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5D47"/>
    <a:srgbClr val="210408"/>
    <a:srgbClr val="EC0106"/>
    <a:srgbClr val="B03632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4743E4-65BE-8D96-1484-5924C560DD90}" v="1" dt="2020-08-06T22:27:53.658"/>
    <p1510:client id="{46D0EDAF-E8B1-336B-F86D-82CE82311011}" v="19" dt="2020-08-04T21:44:08.262"/>
    <p1510:client id="{88D73A3B-A94A-E681-9CF0-DE156B83585C}" v="5" dt="2020-08-04T21:58:08.5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suario invitado" userId="S::urn:spo:anon#56d118a796634f3f549c108ae0adf39b18538913d992833acde7cbaa1a9fe263::" providerId="AD" clId="Web-{46D0EDAF-E8B1-336B-F86D-82CE82311011}"/>
    <pc:docChg chg="modSld">
      <pc:chgData name="Usuario invitado" userId="S::urn:spo:anon#56d118a796634f3f549c108ae0adf39b18538913d992833acde7cbaa1a9fe263::" providerId="AD" clId="Web-{46D0EDAF-E8B1-336B-F86D-82CE82311011}" dt="2020-08-04T21:44:08.262" v="18" actId="1076"/>
      <pc:docMkLst>
        <pc:docMk/>
      </pc:docMkLst>
      <pc:sldChg chg="addSp delSp modSp mod modClrScheme chgLayout">
        <pc:chgData name="Usuario invitado" userId="S::urn:spo:anon#56d118a796634f3f549c108ae0adf39b18538913d992833acde7cbaa1a9fe263::" providerId="AD" clId="Web-{46D0EDAF-E8B1-336B-F86D-82CE82311011}" dt="2020-08-04T21:44:08.262" v="18" actId="1076"/>
        <pc:sldMkLst>
          <pc:docMk/>
          <pc:sldMk cId="897147357" sldId="285"/>
        </pc:sldMkLst>
        <pc:spChg chg="add del mod ord">
          <ac:chgData name="Usuario invitado" userId="S::urn:spo:anon#56d118a796634f3f549c108ae0adf39b18538913d992833acde7cbaa1a9fe263::" providerId="AD" clId="Web-{46D0EDAF-E8B1-336B-F86D-82CE82311011}" dt="2020-08-04T21:42:45.135" v="1"/>
          <ac:spMkLst>
            <pc:docMk/>
            <pc:sldMk cId="897147357" sldId="285"/>
            <ac:spMk id="2" creationId="{C03193DF-268A-4A55-BBCE-0331305CE179}"/>
          </ac:spMkLst>
        </pc:spChg>
        <pc:spChg chg="del">
          <ac:chgData name="Usuario invitado" userId="S::urn:spo:anon#56d118a796634f3f549c108ae0adf39b18538913d992833acde7cbaa1a9fe263::" providerId="AD" clId="Web-{46D0EDAF-E8B1-336B-F86D-82CE82311011}" dt="2020-08-04T21:43:10.495" v="7"/>
          <ac:spMkLst>
            <pc:docMk/>
            <pc:sldMk cId="897147357" sldId="285"/>
            <ac:spMk id="3" creationId="{9DE00160-317C-4D69-B897-051DCF49D48A}"/>
          </ac:spMkLst>
        </pc:spChg>
        <pc:spChg chg="add mod ord">
          <ac:chgData name="Usuario invitado" userId="S::urn:spo:anon#56d118a796634f3f549c108ae0adf39b18538913d992833acde7cbaa1a9fe263::" providerId="AD" clId="Web-{46D0EDAF-E8B1-336B-F86D-82CE82311011}" dt="2020-08-04T21:43:54.840" v="13" actId="20577"/>
          <ac:spMkLst>
            <pc:docMk/>
            <pc:sldMk cId="897147357" sldId="285"/>
            <ac:spMk id="4" creationId="{84EE1A64-3EF6-4987-B2E5-2D1DF00EAB12}"/>
          </ac:spMkLst>
        </pc:spChg>
        <pc:picChg chg="add mod">
          <ac:chgData name="Usuario invitado" userId="S::urn:spo:anon#56d118a796634f3f549c108ae0adf39b18538913d992833acde7cbaa1a9fe263::" providerId="AD" clId="Web-{46D0EDAF-E8B1-336B-F86D-82CE82311011}" dt="2020-08-04T21:44:08.262" v="18" actId="1076"/>
          <ac:picMkLst>
            <pc:docMk/>
            <pc:sldMk cId="897147357" sldId="285"/>
            <ac:picMk id="5" creationId="{54EAD5E7-7BA3-45FE-844E-B0BC262D3540}"/>
          </ac:picMkLst>
        </pc:picChg>
      </pc:sldChg>
    </pc:docChg>
  </pc:docChgLst>
  <pc:docChgLst>
    <pc:chgData name="Laura Yesenia Monsivais Flores" userId="S::160636@utags.edu.mx::7523f6e2-0485-4bdc-aa7a-052eb7b5c7fc" providerId="AD" clId="Web-{2B4743E4-65BE-8D96-1484-5924C560DD90}"/>
    <pc:docChg chg="modSld">
      <pc:chgData name="Laura Yesenia Monsivais Flores" userId="S::160636@utags.edu.mx::7523f6e2-0485-4bdc-aa7a-052eb7b5c7fc" providerId="AD" clId="Web-{2B4743E4-65BE-8D96-1484-5924C560DD90}" dt="2020-08-06T22:27:53.658" v="0"/>
      <pc:docMkLst>
        <pc:docMk/>
      </pc:docMkLst>
      <pc:sldChg chg="delSp">
        <pc:chgData name="Laura Yesenia Monsivais Flores" userId="S::160636@utags.edu.mx::7523f6e2-0485-4bdc-aa7a-052eb7b5c7fc" providerId="AD" clId="Web-{2B4743E4-65BE-8D96-1484-5924C560DD90}" dt="2020-08-06T22:27:53.658" v="0"/>
        <pc:sldMkLst>
          <pc:docMk/>
          <pc:sldMk cId="3136056909" sldId="286"/>
        </pc:sldMkLst>
        <pc:spChg chg="del">
          <ac:chgData name="Laura Yesenia Monsivais Flores" userId="S::160636@utags.edu.mx::7523f6e2-0485-4bdc-aa7a-052eb7b5c7fc" providerId="AD" clId="Web-{2B4743E4-65BE-8D96-1484-5924C560DD90}" dt="2020-08-06T22:27:53.658" v="0"/>
          <ac:spMkLst>
            <pc:docMk/>
            <pc:sldMk cId="3136056909" sldId="286"/>
            <ac:spMk id="3" creationId="{9DE00160-317C-4D69-B897-051DCF49D48A}"/>
          </ac:spMkLst>
        </pc:spChg>
      </pc:sldChg>
    </pc:docChg>
  </pc:docChgLst>
  <pc:docChgLst>
    <pc:chgData name="Laura Yesenia Monsivais Flores" userId="S::160636@utags.edu.mx::7523f6e2-0485-4bdc-aa7a-052eb7b5c7fc" providerId="AD" clId="Web-{88D73A3B-A94A-E681-9CF0-DE156B83585C}"/>
    <pc:docChg chg="modSld">
      <pc:chgData name="Laura Yesenia Monsivais Flores" userId="S::160636@utags.edu.mx::7523f6e2-0485-4bdc-aa7a-052eb7b5c7fc" providerId="AD" clId="Web-{88D73A3B-A94A-E681-9CF0-DE156B83585C}" dt="2020-08-04T21:58:08.579" v="4" actId="20577"/>
      <pc:docMkLst>
        <pc:docMk/>
      </pc:docMkLst>
      <pc:sldChg chg="modSp">
        <pc:chgData name="Laura Yesenia Monsivais Flores" userId="S::160636@utags.edu.mx::7523f6e2-0485-4bdc-aa7a-052eb7b5c7fc" providerId="AD" clId="Web-{88D73A3B-A94A-E681-9CF0-DE156B83585C}" dt="2020-08-04T21:57:47.297" v="2" actId="20577"/>
        <pc:sldMkLst>
          <pc:docMk/>
          <pc:sldMk cId="897147357" sldId="285"/>
        </pc:sldMkLst>
        <pc:spChg chg="mod">
          <ac:chgData name="Laura Yesenia Monsivais Flores" userId="S::160636@utags.edu.mx::7523f6e2-0485-4bdc-aa7a-052eb7b5c7fc" providerId="AD" clId="Web-{88D73A3B-A94A-E681-9CF0-DE156B83585C}" dt="2020-08-04T21:57:47.297" v="2" actId="20577"/>
          <ac:spMkLst>
            <pc:docMk/>
            <pc:sldMk cId="897147357" sldId="285"/>
            <ac:spMk id="4" creationId="{84EE1A64-3EF6-4987-B2E5-2D1DF00EAB1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8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8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7243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/>
              <a:t>Dos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3050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295541" y="2178285"/>
            <a:ext cx="3881370" cy="629529"/>
          </a:xfrm>
        </p:spPr>
        <p:txBody>
          <a:bodyPr>
            <a:normAutofit fontScale="90000"/>
          </a:bodyPr>
          <a:lstStyle/>
          <a:p>
            <a:r>
              <a:rPr lang="en-US" altLang="zh-CN" sz="5400">
                <a:latin typeface="Agency FB" panose="020B0503020202020204" pitchFamily="34" charset="0"/>
              </a:rPr>
              <a:t>INTERFERENCIAS</a:t>
            </a:r>
            <a:endParaRPr lang="zh-CN" altLang="en-US" sz="3200">
              <a:latin typeface="Agency FB" panose="020B0503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9759D5C-643A-4A99-AB40-4026B916FCFE}"/>
              </a:ext>
            </a:extLst>
          </p:cNvPr>
          <p:cNvSpPr txBox="1"/>
          <p:nvPr/>
        </p:nvSpPr>
        <p:spPr>
          <a:xfrm>
            <a:off x="9344746" y="5783332"/>
            <a:ext cx="28472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ELECTRICIDAD Y ELECTRÓNICA </a:t>
            </a:r>
          </a:p>
          <a:p>
            <a:pPr algn="ctr"/>
            <a:r>
              <a:rPr lang="es-MX" sz="20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APLICADA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D80CAE2-39DA-443C-A1F3-D8803A040FCC}"/>
              </a:ext>
            </a:extLst>
          </p:cNvPr>
          <p:cNvSpPr txBox="1"/>
          <p:nvPr/>
        </p:nvSpPr>
        <p:spPr>
          <a:xfrm>
            <a:off x="1595989" y="2807814"/>
            <a:ext cx="6133514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	  ITI9B 04/08/2020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0636	Laura Yesenia Monsivais Flores.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0944	José Manuel Salazar González.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1067	Julio César Lozano López.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0726	Pedro De La Cruz Rosas.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1061	Misael Fernando Pedroza </a:t>
            </a:r>
          </a:p>
          <a:p>
            <a:r>
              <a:rPr lang="es-MX" sz="1600" b="1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161237	Ernesto Gaytán Cortés.</a:t>
            </a:r>
          </a:p>
          <a:p>
            <a:endParaRPr lang="es-MX" sz="1600" b="1">
              <a:solidFill>
                <a:schemeClr val="tx2">
                  <a:lumMod val="40000"/>
                  <a:lumOff val="6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BBA5EDB3-B462-4C27-A116-C9DEE6EB5913}"/>
              </a:ext>
            </a:extLst>
          </p:cNvPr>
          <p:cNvSpPr txBox="1"/>
          <p:nvPr/>
        </p:nvSpPr>
        <p:spPr>
          <a:xfrm>
            <a:off x="4302150" y="193432"/>
            <a:ext cx="39846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4400" b="1">
                <a:latin typeface="Agency FB" panose="020B0503020202020204" pitchFamily="34" charset="0"/>
              </a:rPr>
              <a:t>EJEMPLO</a:t>
            </a:r>
            <a:endParaRPr lang="es-MX" sz="4400" b="1"/>
          </a:p>
        </p:txBody>
      </p:sp>
    </p:spTree>
    <p:extLst>
      <p:ext uri="{BB962C8B-B14F-4D97-AF65-F5344CB8AC3E}">
        <p14:creationId xmlns:p14="http://schemas.microsoft.com/office/powerpoint/2010/main" val="31360569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752492" y="2489980"/>
            <a:ext cx="3787701" cy="1220125"/>
          </a:xfrm>
        </p:spPr>
        <p:txBody>
          <a:bodyPr/>
          <a:lstStyle/>
          <a:p>
            <a:r>
              <a:rPr lang="en-US" altLang="zh-CN" sz="8000">
                <a:solidFill>
                  <a:schemeClr val="accent2">
                    <a:lumMod val="50000"/>
                  </a:schemeClr>
                </a:solidFill>
                <a:latin typeface="Agency FB" panose="020B0503020202020204" pitchFamily="34" charset="0"/>
              </a:rPr>
              <a:t>Gracias</a:t>
            </a:r>
            <a:br>
              <a:rPr lang="en-US" altLang="zh-CN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altLang="zh-CN" sz="100">
                <a:solidFill>
                  <a:schemeClr val="accent2">
                    <a:lumMod val="50000"/>
                  </a:schemeClr>
                </a:solidFill>
              </a:rPr>
              <a:t> </a:t>
            </a:r>
            <a:endParaRPr lang="zh-CN" altLang="en-US">
              <a:solidFill>
                <a:schemeClr val="accent2">
                  <a:lumMod val="50000"/>
                </a:schemeClr>
              </a:solidFill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Protege tu TDT de interferencias 4G (LTE)">
            <a:extLst>
              <a:ext uri="{FF2B5EF4-FFF2-40B4-BE49-F238E27FC236}">
                <a16:creationId xmlns:a16="http://schemas.microsoft.com/office/drawing/2014/main" id="{77C2880A-6C3F-4550-BD91-229033F1D4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704" y="1965973"/>
            <a:ext cx="4532711" cy="2372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BBA5EDB3-B462-4C27-A116-C9DEE6EB5913}"/>
              </a:ext>
            </a:extLst>
          </p:cNvPr>
          <p:cNvSpPr txBox="1"/>
          <p:nvPr/>
        </p:nvSpPr>
        <p:spPr>
          <a:xfrm>
            <a:off x="4302150" y="193432"/>
            <a:ext cx="398467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4400" b="1">
                <a:latin typeface="Agency FB" panose="020B0503020202020204" pitchFamily="34" charset="0"/>
              </a:rPr>
              <a:t>¿QUE ES UNA INTERFERENCIA?</a:t>
            </a:r>
            <a:endParaRPr lang="es-MX" sz="4400" b="1"/>
          </a:p>
        </p:txBody>
      </p:sp>
      <p:pic>
        <p:nvPicPr>
          <p:cNvPr id="5124" name="Picture 4" descr="Alta vibra">
            <a:extLst>
              <a:ext uri="{FF2B5EF4-FFF2-40B4-BE49-F238E27FC236}">
                <a16:creationId xmlns:a16="http://schemas.microsoft.com/office/drawing/2014/main" id="{B9AAD2E8-E762-4D04-91DF-38863CE54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391" y="3811610"/>
            <a:ext cx="4410905" cy="2680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7441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470837"/>
            <a:ext cx="10763205" cy="4313579"/>
            <a:chOff x="757282" y="1470837"/>
            <a:chExt cx="10763205" cy="4313579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470837"/>
              <a:ext cx="10763205" cy="4313579"/>
              <a:chOff x="1175743" y="1470837"/>
              <a:chExt cx="10344744" cy="4313579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470837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s-MX" altLang="zh-CN" sz="240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s-MX" altLang="zh-CN" sz="2800">
                    <a:latin typeface="Agency FB" panose="020B0503020202020204" pitchFamily="34" charset="0"/>
                    <a:ea typeface="+mn-ea"/>
                    <a:sym typeface="+mn-lt"/>
                  </a:rPr>
                  <a:t>Interferencia Electromagnética (EMI)</a:t>
                </a: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s-MX" altLang="zh-CN" sz="2800">
                    <a:latin typeface="Agency FB" panose="020B0503020202020204" pitchFamily="34" charset="0"/>
                    <a:ea typeface="+mn-ea"/>
                    <a:sym typeface="+mn-lt"/>
                  </a:rPr>
                  <a:t>Interferencia de Radio Frecuencia (RFI)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tr-TR" sz="4000" b="1">
                    <a:solidFill>
                      <a:schemeClr val="accent1"/>
                    </a:solidFill>
                    <a:latin typeface="Agency FB" panose="020B0503020202020204" pitchFamily="34" charset="0"/>
                    <a:cs typeface="+mn-ea"/>
                    <a:sym typeface="+mn-lt"/>
                  </a:rPr>
                  <a:t>CONTEN</a:t>
                </a:r>
                <a:r>
                  <a:rPr lang="es-MX" sz="4000" b="1">
                    <a:solidFill>
                      <a:schemeClr val="accent1"/>
                    </a:solidFill>
                    <a:latin typeface="Agency FB" panose="020B0503020202020204" pitchFamily="34" charset="0"/>
                    <a:cs typeface="+mn-ea"/>
                    <a:sym typeface="+mn-lt"/>
                  </a:rPr>
                  <a:t>IDO</a:t>
                </a:r>
                <a:r>
                  <a:rPr lang="es-MX" sz="400" b="1">
                    <a:solidFill>
                      <a:schemeClr val="accent1"/>
                    </a:solidFill>
                    <a:latin typeface="Agency FB" panose="020B0503020202020204" pitchFamily="34" charset="0"/>
                    <a:cs typeface="+mn-ea"/>
                    <a:sym typeface="+mn-lt"/>
                  </a:rPr>
                  <a:t>IDO</a:t>
                </a:r>
                <a:endParaRPr lang="tr-TR" sz="4000" b="1">
                  <a:solidFill>
                    <a:schemeClr val="accent1"/>
                  </a:solidFill>
                  <a:latin typeface="Agency FB" panose="020B0503020202020204" pitchFamily="34" charset="0"/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098599" y="2278251"/>
            <a:ext cx="5419185" cy="143544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s-MX" altLang="zh-CN" sz="3200">
                <a:latin typeface="Agency FB" panose="020B0503020202020204" pitchFamily="34" charset="0"/>
                <a:sym typeface="+mn-lt"/>
              </a:rPr>
              <a:t>Interferencia Electromagnética (EMI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5">
            <a:extLst>
              <a:ext uri="{FF2B5EF4-FFF2-40B4-BE49-F238E27FC236}">
                <a16:creationId xmlns:a16="http://schemas.microsoft.com/office/drawing/2014/main" id="{B20079A2-31CE-44D6-B924-1FF5F075B638}"/>
              </a:ext>
            </a:extLst>
          </p:cNvPr>
          <p:cNvGrpSpPr/>
          <p:nvPr/>
        </p:nvGrpSpPr>
        <p:grpSpPr>
          <a:xfrm>
            <a:off x="5252647" y="0"/>
            <a:ext cx="6939359" cy="6858000"/>
            <a:chOff x="5252643" y="0"/>
            <a:chExt cx="6939358" cy="6858000"/>
          </a:xfrm>
          <a:solidFill>
            <a:srgbClr val="F7F7F7"/>
          </a:solidFill>
        </p:grpSpPr>
        <p:sp>
          <p:nvSpPr>
            <p:cNvPr id="9" name="任意多边形: 形状 6">
              <a:extLst>
                <a:ext uri="{FF2B5EF4-FFF2-40B4-BE49-F238E27FC236}">
                  <a16:creationId xmlns:a16="http://schemas.microsoft.com/office/drawing/2014/main" id="{87027812-39ED-48F2-B846-15AF98F3E812}"/>
                </a:ext>
              </a:extLst>
            </p:cNvPr>
            <p:cNvSpPr>
              <a:spLocks/>
            </p:cNvSpPr>
            <p:nvPr/>
          </p:nvSpPr>
          <p:spPr>
            <a:xfrm rot="19800000">
              <a:off x="7350845" y="2199545"/>
              <a:ext cx="2772000" cy="2772000"/>
            </a:xfrm>
            <a:custGeom>
              <a:avLst/>
              <a:gdLst>
                <a:gd name="connsiteX0" fmla="*/ 786764 w 1905000"/>
                <a:gd name="connsiteY0" fmla="*/ 1857375 h 1866900"/>
                <a:gd name="connsiteX1" fmla="*/ 1116329 w 1905000"/>
                <a:gd name="connsiteY1" fmla="*/ 1857375 h 1866900"/>
                <a:gd name="connsiteX2" fmla="*/ 1047749 w 1905000"/>
                <a:gd name="connsiteY2" fmla="*/ 1866900 h 1866900"/>
                <a:gd name="connsiteX3" fmla="*/ 855344 w 1905000"/>
                <a:gd name="connsiteY3" fmla="*/ 1866900 h 1866900"/>
                <a:gd name="connsiteX4" fmla="*/ 786764 w 1905000"/>
                <a:gd name="connsiteY4" fmla="*/ 1857375 h 1866900"/>
                <a:gd name="connsiteX5" fmla="*/ 614362 w 1905000"/>
                <a:gd name="connsiteY5" fmla="*/ 1809750 h 1866900"/>
                <a:gd name="connsiteX6" fmla="*/ 1290637 w 1905000"/>
                <a:gd name="connsiteY6" fmla="*/ 1809750 h 1866900"/>
                <a:gd name="connsiteX7" fmla="*/ 1263967 w 1905000"/>
                <a:gd name="connsiteY7" fmla="*/ 1819275 h 1866900"/>
                <a:gd name="connsiteX8" fmla="*/ 640079 w 1905000"/>
                <a:gd name="connsiteY8" fmla="*/ 1819275 h 1866900"/>
                <a:gd name="connsiteX9" fmla="*/ 614362 w 1905000"/>
                <a:gd name="connsiteY9" fmla="*/ 1809750 h 1866900"/>
                <a:gd name="connsiteX10" fmla="*/ 509587 w 1905000"/>
                <a:gd name="connsiteY10" fmla="*/ 1762125 h 1866900"/>
                <a:gd name="connsiteX11" fmla="*/ 1396365 w 1905000"/>
                <a:gd name="connsiteY11" fmla="*/ 1762125 h 1866900"/>
                <a:gd name="connsiteX12" fmla="*/ 1377315 w 1905000"/>
                <a:gd name="connsiteY12" fmla="*/ 1771650 h 1866900"/>
                <a:gd name="connsiteX13" fmla="*/ 527685 w 1905000"/>
                <a:gd name="connsiteY13" fmla="*/ 1771650 h 1866900"/>
                <a:gd name="connsiteX14" fmla="*/ 509587 w 1905000"/>
                <a:gd name="connsiteY14" fmla="*/ 1762125 h 1866900"/>
                <a:gd name="connsiteX15" fmla="*/ 428625 w 1905000"/>
                <a:gd name="connsiteY15" fmla="*/ 1714500 h 1866900"/>
                <a:gd name="connsiteX16" fmla="*/ 1478280 w 1905000"/>
                <a:gd name="connsiteY16" fmla="*/ 1714500 h 1866900"/>
                <a:gd name="connsiteX17" fmla="*/ 1463040 w 1905000"/>
                <a:gd name="connsiteY17" fmla="*/ 1724025 h 1866900"/>
                <a:gd name="connsiteX18" fmla="*/ 443865 w 1905000"/>
                <a:gd name="connsiteY18" fmla="*/ 1724025 h 1866900"/>
                <a:gd name="connsiteX19" fmla="*/ 428625 w 1905000"/>
                <a:gd name="connsiteY19" fmla="*/ 1714500 h 1866900"/>
                <a:gd name="connsiteX20" fmla="*/ 362902 w 1905000"/>
                <a:gd name="connsiteY20" fmla="*/ 1666875 h 1866900"/>
                <a:gd name="connsiteX21" fmla="*/ 1544002 w 1905000"/>
                <a:gd name="connsiteY21" fmla="*/ 1666875 h 1866900"/>
                <a:gd name="connsiteX22" fmla="*/ 1531620 w 1905000"/>
                <a:gd name="connsiteY22" fmla="*/ 1676400 h 1866900"/>
                <a:gd name="connsiteX23" fmla="*/ 375285 w 1905000"/>
                <a:gd name="connsiteY23" fmla="*/ 1676400 h 1866900"/>
                <a:gd name="connsiteX24" fmla="*/ 362902 w 1905000"/>
                <a:gd name="connsiteY24" fmla="*/ 1666875 h 1866900"/>
                <a:gd name="connsiteX25" fmla="*/ 306705 w 1905000"/>
                <a:gd name="connsiteY25" fmla="*/ 1619250 h 1866900"/>
                <a:gd name="connsiteX26" fmla="*/ 1599247 w 1905000"/>
                <a:gd name="connsiteY26" fmla="*/ 1619250 h 1866900"/>
                <a:gd name="connsiteX27" fmla="*/ 1588770 w 1905000"/>
                <a:gd name="connsiteY27" fmla="*/ 1628775 h 1866900"/>
                <a:gd name="connsiteX28" fmla="*/ 317182 w 1905000"/>
                <a:gd name="connsiteY28" fmla="*/ 1628775 h 1866900"/>
                <a:gd name="connsiteX29" fmla="*/ 306705 w 1905000"/>
                <a:gd name="connsiteY29" fmla="*/ 1619250 h 1866900"/>
                <a:gd name="connsiteX30" fmla="*/ 258127 w 1905000"/>
                <a:gd name="connsiteY30" fmla="*/ 1571625 h 1866900"/>
                <a:gd name="connsiteX31" fmla="*/ 1646872 w 1905000"/>
                <a:gd name="connsiteY31" fmla="*/ 1571625 h 1866900"/>
                <a:gd name="connsiteX32" fmla="*/ 1637347 w 1905000"/>
                <a:gd name="connsiteY32" fmla="*/ 1581150 h 1866900"/>
                <a:gd name="connsiteX33" fmla="*/ 266699 w 1905000"/>
                <a:gd name="connsiteY33" fmla="*/ 1581150 h 1866900"/>
                <a:gd name="connsiteX34" fmla="*/ 258127 w 1905000"/>
                <a:gd name="connsiteY34" fmla="*/ 1571625 h 1866900"/>
                <a:gd name="connsiteX35" fmla="*/ 216217 w 1905000"/>
                <a:gd name="connsiteY35" fmla="*/ 1524000 h 1866900"/>
                <a:gd name="connsiteX36" fmla="*/ 1687830 w 1905000"/>
                <a:gd name="connsiteY36" fmla="*/ 1524000 h 1866900"/>
                <a:gd name="connsiteX37" fmla="*/ 1680209 w 1905000"/>
                <a:gd name="connsiteY37" fmla="*/ 1533525 h 1866900"/>
                <a:gd name="connsiteX38" fmla="*/ 223837 w 1905000"/>
                <a:gd name="connsiteY38" fmla="*/ 1533525 h 1866900"/>
                <a:gd name="connsiteX39" fmla="*/ 216217 w 1905000"/>
                <a:gd name="connsiteY39" fmla="*/ 1524000 h 1866900"/>
                <a:gd name="connsiteX40" fmla="*/ 180022 w 1905000"/>
                <a:gd name="connsiteY40" fmla="*/ 1476375 h 1866900"/>
                <a:gd name="connsiteX41" fmla="*/ 1724977 w 1905000"/>
                <a:gd name="connsiteY41" fmla="*/ 1476375 h 1866900"/>
                <a:gd name="connsiteX42" fmla="*/ 1718310 w 1905000"/>
                <a:gd name="connsiteY42" fmla="*/ 1485900 h 1866900"/>
                <a:gd name="connsiteX43" fmla="*/ 186690 w 1905000"/>
                <a:gd name="connsiteY43" fmla="*/ 1485900 h 1866900"/>
                <a:gd name="connsiteX44" fmla="*/ 180022 w 1905000"/>
                <a:gd name="connsiteY44" fmla="*/ 1476375 h 1866900"/>
                <a:gd name="connsiteX45" fmla="*/ 147637 w 1905000"/>
                <a:gd name="connsiteY45" fmla="*/ 1428750 h 1866900"/>
                <a:gd name="connsiteX46" fmla="*/ 1756410 w 1905000"/>
                <a:gd name="connsiteY46" fmla="*/ 1428750 h 1866900"/>
                <a:gd name="connsiteX47" fmla="*/ 1750695 w 1905000"/>
                <a:gd name="connsiteY47" fmla="*/ 1438275 h 1866900"/>
                <a:gd name="connsiteX48" fmla="*/ 153352 w 1905000"/>
                <a:gd name="connsiteY48" fmla="*/ 1438275 h 1866900"/>
                <a:gd name="connsiteX49" fmla="*/ 147637 w 1905000"/>
                <a:gd name="connsiteY49" fmla="*/ 1428750 h 1866900"/>
                <a:gd name="connsiteX50" fmla="*/ 119062 w 1905000"/>
                <a:gd name="connsiteY50" fmla="*/ 1381125 h 1866900"/>
                <a:gd name="connsiteX51" fmla="*/ 1785937 w 1905000"/>
                <a:gd name="connsiteY51" fmla="*/ 1381125 h 1866900"/>
                <a:gd name="connsiteX52" fmla="*/ 1780222 w 1905000"/>
                <a:gd name="connsiteY52" fmla="*/ 1390650 h 1866900"/>
                <a:gd name="connsiteX53" fmla="*/ 124777 w 1905000"/>
                <a:gd name="connsiteY53" fmla="*/ 1390650 h 1866900"/>
                <a:gd name="connsiteX54" fmla="*/ 119062 w 1905000"/>
                <a:gd name="connsiteY54" fmla="*/ 1381125 h 1866900"/>
                <a:gd name="connsiteX55" fmla="*/ 95250 w 1905000"/>
                <a:gd name="connsiteY55" fmla="*/ 1333500 h 1866900"/>
                <a:gd name="connsiteX56" fmla="*/ 1810703 w 1905000"/>
                <a:gd name="connsiteY56" fmla="*/ 1333500 h 1866900"/>
                <a:gd name="connsiteX57" fmla="*/ 1805940 w 1905000"/>
                <a:gd name="connsiteY57" fmla="*/ 1343025 h 1866900"/>
                <a:gd name="connsiteX58" fmla="*/ 100013 w 1905000"/>
                <a:gd name="connsiteY58" fmla="*/ 1343025 h 1866900"/>
                <a:gd name="connsiteX59" fmla="*/ 95250 w 1905000"/>
                <a:gd name="connsiteY59" fmla="*/ 1333500 h 1866900"/>
                <a:gd name="connsiteX60" fmla="*/ 73342 w 1905000"/>
                <a:gd name="connsiteY60" fmla="*/ 1285875 h 1866900"/>
                <a:gd name="connsiteX61" fmla="*/ 1830705 w 1905000"/>
                <a:gd name="connsiteY61" fmla="*/ 1285875 h 1866900"/>
                <a:gd name="connsiteX62" fmla="*/ 1826895 w 1905000"/>
                <a:gd name="connsiteY62" fmla="*/ 1295400 h 1866900"/>
                <a:gd name="connsiteX63" fmla="*/ 77152 w 1905000"/>
                <a:gd name="connsiteY63" fmla="*/ 1295400 h 1866900"/>
                <a:gd name="connsiteX64" fmla="*/ 73342 w 1905000"/>
                <a:gd name="connsiteY64" fmla="*/ 1285875 h 1866900"/>
                <a:gd name="connsiteX65" fmla="*/ 55245 w 1905000"/>
                <a:gd name="connsiteY65" fmla="*/ 1238250 h 1866900"/>
                <a:gd name="connsiteX66" fmla="*/ 1850708 w 1905000"/>
                <a:gd name="connsiteY66" fmla="*/ 1238250 h 1866900"/>
                <a:gd name="connsiteX67" fmla="*/ 1846898 w 1905000"/>
                <a:gd name="connsiteY67" fmla="*/ 1247775 h 1866900"/>
                <a:gd name="connsiteX68" fmla="*/ 59055 w 1905000"/>
                <a:gd name="connsiteY68" fmla="*/ 1247775 h 1866900"/>
                <a:gd name="connsiteX69" fmla="*/ 55245 w 1905000"/>
                <a:gd name="connsiteY69" fmla="*/ 1238250 h 1866900"/>
                <a:gd name="connsiteX70" fmla="*/ 40004 w 1905000"/>
                <a:gd name="connsiteY70" fmla="*/ 1190625 h 1866900"/>
                <a:gd name="connsiteX71" fmla="*/ 1865947 w 1905000"/>
                <a:gd name="connsiteY71" fmla="*/ 1190625 h 1866900"/>
                <a:gd name="connsiteX72" fmla="*/ 1863089 w 1905000"/>
                <a:gd name="connsiteY72" fmla="*/ 1200150 h 1866900"/>
                <a:gd name="connsiteX73" fmla="*/ 42862 w 1905000"/>
                <a:gd name="connsiteY73" fmla="*/ 1200150 h 1866900"/>
                <a:gd name="connsiteX74" fmla="*/ 40004 w 1905000"/>
                <a:gd name="connsiteY74" fmla="*/ 1190625 h 1866900"/>
                <a:gd name="connsiteX75" fmla="*/ 26669 w 1905000"/>
                <a:gd name="connsiteY75" fmla="*/ 1143000 h 1866900"/>
                <a:gd name="connsiteX76" fmla="*/ 1878329 w 1905000"/>
                <a:gd name="connsiteY76" fmla="*/ 1143000 h 1866900"/>
                <a:gd name="connsiteX77" fmla="*/ 1876424 w 1905000"/>
                <a:gd name="connsiteY77" fmla="*/ 1152525 h 1866900"/>
                <a:gd name="connsiteX78" fmla="*/ 29526 w 1905000"/>
                <a:gd name="connsiteY78" fmla="*/ 1152525 h 1866900"/>
                <a:gd name="connsiteX79" fmla="*/ 26669 w 1905000"/>
                <a:gd name="connsiteY79" fmla="*/ 1143000 h 1866900"/>
                <a:gd name="connsiteX80" fmla="*/ 16192 w 1905000"/>
                <a:gd name="connsiteY80" fmla="*/ 1095375 h 1866900"/>
                <a:gd name="connsiteX81" fmla="*/ 1888807 w 1905000"/>
                <a:gd name="connsiteY81" fmla="*/ 1095375 h 1866900"/>
                <a:gd name="connsiteX82" fmla="*/ 1886902 w 1905000"/>
                <a:gd name="connsiteY82" fmla="*/ 1104900 h 1866900"/>
                <a:gd name="connsiteX83" fmla="*/ 18097 w 1905000"/>
                <a:gd name="connsiteY83" fmla="*/ 1104900 h 1866900"/>
                <a:gd name="connsiteX84" fmla="*/ 16192 w 1905000"/>
                <a:gd name="connsiteY84" fmla="*/ 1095375 h 1866900"/>
                <a:gd name="connsiteX85" fmla="*/ 8572 w 1905000"/>
                <a:gd name="connsiteY85" fmla="*/ 1047750 h 1866900"/>
                <a:gd name="connsiteX86" fmla="*/ 1896427 w 1905000"/>
                <a:gd name="connsiteY86" fmla="*/ 1047750 h 1866900"/>
                <a:gd name="connsiteX87" fmla="*/ 1895475 w 1905000"/>
                <a:gd name="connsiteY87" fmla="*/ 1057275 h 1866900"/>
                <a:gd name="connsiteX88" fmla="*/ 9525 w 1905000"/>
                <a:gd name="connsiteY88" fmla="*/ 1057275 h 1866900"/>
                <a:gd name="connsiteX89" fmla="*/ 8572 w 1905000"/>
                <a:gd name="connsiteY89" fmla="*/ 1047750 h 1866900"/>
                <a:gd name="connsiteX90" fmla="*/ 3810 w 1905000"/>
                <a:gd name="connsiteY90" fmla="*/ 1000125 h 1866900"/>
                <a:gd name="connsiteX91" fmla="*/ 1902143 w 1905000"/>
                <a:gd name="connsiteY91" fmla="*/ 1000125 h 1866900"/>
                <a:gd name="connsiteX92" fmla="*/ 1901190 w 1905000"/>
                <a:gd name="connsiteY92" fmla="*/ 1009650 h 1866900"/>
                <a:gd name="connsiteX93" fmla="*/ 4762 w 1905000"/>
                <a:gd name="connsiteY93" fmla="*/ 1009650 h 1866900"/>
                <a:gd name="connsiteX94" fmla="*/ 3810 w 1905000"/>
                <a:gd name="connsiteY94" fmla="*/ 1000125 h 1866900"/>
                <a:gd name="connsiteX95" fmla="*/ 952 w 1905000"/>
                <a:gd name="connsiteY95" fmla="*/ 952500 h 1866900"/>
                <a:gd name="connsiteX96" fmla="*/ 1904047 w 1905000"/>
                <a:gd name="connsiteY96" fmla="*/ 952500 h 1866900"/>
                <a:gd name="connsiteX97" fmla="*/ 1904047 w 1905000"/>
                <a:gd name="connsiteY97" fmla="*/ 962025 h 1866900"/>
                <a:gd name="connsiteX98" fmla="*/ 952 w 1905000"/>
                <a:gd name="connsiteY98" fmla="*/ 962025 h 1866900"/>
                <a:gd name="connsiteX99" fmla="*/ 952 w 1905000"/>
                <a:gd name="connsiteY99" fmla="*/ 952500 h 1866900"/>
                <a:gd name="connsiteX100" fmla="*/ 0 w 1905000"/>
                <a:gd name="connsiteY100" fmla="*/ 904875 h 1866900"/>
                <a:gd name="connsiteX101" fmla="*/ 1905000 w 1905000"/>
                <a:gd name="connsiteY101" fmla="*/ 904875 h 1866900"/>
                <a:gd name="connsiteX102" fmla="*/ 1905000 w 1905000"/>
                <a:gd name="connsiteY102" fmla="*/ 914400 h 1866900"/>
                <a:gd name="connsiteX103" fmla="*/ 0 w 1905000"/>
                <a:gd name="connsiteY103" fmla="*/ 914400 h 1866900"/>
                <a:gd name="connsiteX104" fmla="*/ 0 w 1905000"/>
                <a:gd name="connsiteY104" fmla="*/ 904875 h 1866900"/>
                <a:gd name="connsiteX105" fmla="*/ 1905 w 1905000"/>
                <a:gd name="connsiteY105" fmla="*/ 857250 h 1866900"/>
                <a:gd name="connsiteX106" fmla="*/ 1902142 w 1905000"/>
                <a:gd name="connsiteY106" fmla="*/ 857250 h 1866900"/>
                <a:gd name="connsiteX107" fmla="*/ 1903095 w 1905000"/>
                <a:gd name="connsiteY107" fmla="*/ 866775 h 1866900"/>
                <a:gd name="connsiteX108" fmla="*/ 952 w 1905000"/>
                <a:gd name="connsiteY108" fmla="*/ 866775 h 1866900"/>
                <a:gd name="connsiteX109" fmla="*/ 1905 w 1905000"/>
                <a:gd name="connsiteY109" fmla="*/ 857250 h 1866900"/>
                <a:gd name="connsiteX110" fmla="*/ 6667 w 1905000"/>
                <a:gd name="connsiteY110" fmla="*/ 809625 h 1866900"/>
                <a:gd name="connsiteX111" fmla="*/ 1899285 w 1905000"/>
                <a:gd name="connsiteY111" fmla="*/ 809625 h 1866900"/>
                <a:gd name="connsiteX112" fmla="*/ 1900238 w 1905000"/>
                <a:gd name="connsiteY112" fmla="*/ 819150 h 1866900"/>
                <a:gd name="connsiteX113" fmla="*/ 5715 w 1905000"/>
                <a:gd name="connsiteY113" fmla="*/ 819150 h 1866900"/>
                <a:gd name="connsiteX114" fmla="*/ 6667 w 1905000"/>
                <a:gd name="connsiteY114" fmla="*/ 809625 h 1866900"/>
                <a:gd name="connsiteX115" fmla="*/ 13335 w 1905000"/>
                <a:gd name="connsiteY115" fmla="*/ 762000 h 1866900"/>
                <a:gd name="connsiteX116" fmla="*/ 1891665 w 1905000"/>
                <a:gd name="connsiteY116" fmla="*/ 762000 h 1866900"/>
                <a:gd name="connsiteX117" fmla="*/ 1893570 w 1905000"/>
                <a:gd name="connsiteY117" fmla="*/ 771525 h 1866900"/>
                <a:gd name="connsiteX118" fmla="*/ 11430 w 1905000"/>
                <a:gd name="connsiteY118" fmla="*/ 771525 h 1866900"/>
                <a:gd name="connsiteX119" fmla="*/ 13335 w 1905000"/>
                <a:gd name="connsiteY119" fmla="*/ 762000 h 1866900"/>
                <a:gd name="connsiteX120" fmla="*/ 21907 w 1905000"/>
                <a:gd name="connsiteY120" fmla="*/ 714375 h 1866900"/>
                <a:gd name="connsiteX121" fmla="*/ 1883092 w 1905000"/>
                <a:gd name="connsiteY121" fmla="*/ 714375 h 1866900"/>
                <a:gd name="connsiteX122" fmla="*/ 1884997 w 1905000"/>
                <a:gd name="connsiteY122" fmla="*/ 723900 h 1866900"/>
                <a:gd name="connsiteX123" fmla="*/ 20002 w 1905000"/>
                <a:gd name="connsiteY123" fmla="*/ 723900 h 1866900"/>
                <a:gd name="connsiteX124" fmla="*/ 21907 w 1905000"/>
                <a:gd name="connsiteY124" fmla="*/ 714375 h 1866900"/>
                <a:gd name="connsiteX125" fmla="*/ 34289 w 1905000"/>
                <a:gd name="connsiteY125" fmla="*/ 666750 h 1866900"/>
                <a:gd name="connsiteX126" fmla="*/ 1870710 w 1905000"/>
                <a:gd name="connsiteY126" fmla="*/ 666750 h 1866900"/>
                <a:gd name="connsiteX127" fmla="*/ 1873567 w 1905000"/>
                <a:gd name="connsiteY127" fmla="*/ 676275 h 1866900"/>
                <a:gd name="connsiteX128" fmla="*/ 31432 w 1905000"/>
                <a:gd name="connsiteY128" fmla="*/ 676275 h 1866900"/>
                <a:gd name="connsiteX129" fmla="*/ 34289 w 1905000"/>
                <a:gd name="connsiteY129" fmla="*/ 666750 h 1866900"/>
                <a:gd name="connsiteX130" fmla="*/ 48577 w 1905000"/>
                <a:gd name="connsiteY130" fmla="*/ 619125 h 1866900"/>
                <a:gd name="connsiteX131" fmla="*/ 1857375 w 1905000"/>
                <a:gd name="connsiteY131" fmla="*/ 619125 h 1866900"/>
                <a:gd name="connsiteX132" fmla="*/ 1860233 w 1905000"/>
                <a:gd name="connsiteY132" fmla="*/ 628650 h 1866900"/>
                <a:gd name="connsiteX133" fmla="*/ 45720 w 1905000"/>
                <a:gd name="connsiteY133" fmla="*/ 628650 h 1866900"/>
                <a:gd name="connsiteX134" fmla="*/ 48577 w 1905000"/>
                <a:gd name="connsiteY134" fmla="*/ 619125 h 1866900"/>
                <a:gd name="connsiteX135" fmla="*/ 65722 w 1905000"/>
                <a:gd name="connsiteY135" fmla="*/ 571500 h 1866900"/>
                <a:gd name="connsiteX136" fmla="*/ 1839277 w 1905000"/>
                <a:gd name="connsiteY136" fmla="*/ 571500 h 1866900"/>
                <a:gd name="connsiteX137" fmla="*/ 1843087 w 1905000"/>
                <a:gd name="connsiteY137" fmla="*/ 581025 h 1866900"/>
                <a:gd name="connsiteX138" fmla="*/ 61912 w 1905000"/>
                <a:gd name="connsiteY138" fmla="*/ 581025 h 1866900"/>
                <a:gd name="connsiteX139" fmla="*/ 65722 w 1905000"/>
                <a:gd name="connsiteY139" fmla="*/ 571500 h 1866900"/>
                <a:gd name="connsiteX140" fmla="*/ 85725 w 1905000"/>
                <a:gd name="connsiteY140" fmla="*/ 523875 h 1866900"/>
                <a:gd name="connsiteX141" fmla="*/ 1819275 w 1905000"/>
                <a:gd name="connsiteY141" fmla="*/ 523875 h 1866900"/>
                <a:gd name="connsiteX142" fmla="*/ 1823085 w 1905000"/>
                <a:gd name="connsiteY142" fmla="*/ 533400 h 1866900"/>
                <a:gd name="connsiteX143" fmla="*/ 80962 w 1905000"/>
                <a:gd name="connsiteY143" fmla="*/ 533400 h 1866900"/>
                <a:gd name="connsiteX144" fmla="*/ 85725 w 1905000"/>
                <a:gd name="connsiteY144" fmla="*/ 523875 h 1866900"/>
                <a:gd name="connsiteX145" fmla="*/ 109538 w 1905000"/>
                <a:gd name="connsiteY145" fmla="*/ 476250 h 1866900"/>
                <a:gd name="connsiteX146" fmla="*/ 1796415 w 1905000"/>
                <a:gd name="connsiteY146" fmla="*/ 476250 h 1866900"/>
                <a:gd name="connsiteX147" fmla="*/ 1801178 w 1905000"/>
                <a:gd name="connsiteY147" fmla="*/ 485775 h 1866900"/>
                <a:gd name="connsiteX148" fmla="*/ 104775 w 1905000"/>
                <a:gd name="connsiteY148" fmla="*/ 485775 h 1866900"/>
                <a:gd name="connsiteX149" fmla="*/ 109538 w 1905000"/>
                <a:gd name="connsiteY149" fmla="*/ 476250 h 1866900"/>
                <a:gd name="connsiteX150" fmla="*/ 136207 w 1905000"/>
                <a:gd name="connsiteY150" fmla="*/ 428625 h 1866900"/>
                <a:gd name="connsiteX151" fmla="*/ 1768792 w 1905000"/>
                <a:gd name="connsiteY151" fmla="*/ 428625 h 1866900"/>
                <a:gd name="connsiteX152" fmla="*/ 1774507 w 1905000"/>
                <a:gd name="connsiteY152" fmla="*/ 438150 h 1866900"/>
                <a:gd name="connsiteX153" fmla="*/ 130492 w 1905000"/>
                <a:gd name="connsiteY153" fmla="*/ 438150 h 1866900"/>
                <a:gd name="connsiteX154" fmla="*/ 136207 w 1905000"/>
                <a:gd name="connsiteY154" fmla="*/ 428625 h 1866900"/>
                <a:gd name="connsiteX155" fmla="*/ 166687 w 1905000"/>
                <a:gd name="connsiteY155" fmla="*/ 381000 h 1866900"/>
                <a:gd name="connsiteX156" fmla="*/ 1738312 w 1905000"/>
                <a:gd name="connsiteY156" fmla="*/ 381000 h 1866900"/>
                <a:gd name="connsiteX157" fmla="*/ 1744979 w 1905000"/>
                <a:gd name="connsiteY157" fmla="*/ 390525 h 1866900"/>
                <a:gd name="connsiteX158" fmla="*/ 160019 w 1905000"/>
                <a:gd name="connsiteY158" fmla="*/ 390525 h 1866900"/>
                <a:gd name="connsiteX159" fmla="*/ 166687 w 1905000"/>
                <a:gd name="connsiteY159" fmla="*/ 381000 h 1866900"/>
                <a:gd name="connsiteX160" fmla="*/ 201929 w 1905000"/>
                <a:gd name="connsiteY160" fmla="*/ 333375 h 1866900"/>
                <a:gd name="connsiteX161" fmla="*/ 1704022 w 1905000"/>
                <a:gd name="connsiteY161" fmla="*/ 333375 h 1866900"/>
                <a:gd name="connsiteX162" fmla="*/ 1711642 w 1905000"/>
                <a:gd name="connsiteY162" fmla="*/ 342900 h 1866900"/>
                <a:gd name="connsiteX163" fmla="*/ 194309 w 1905000"/>
                <a:gd name="connsiteY163" fmla="*/ 342900 h 1866900"/>
                <a:gd name="connsiteX164" fmla="*/ 201929 w 1905000"/>
                <a:gd name="connsiteY164" fmla="*/ 333375 h 1866900"/>
                <a:gd name="connsiteX165" fmla="*/ 240981 w 1905000"/>
                <a:gd name="connsiteY165" fmla="*/ 285750 h 1866900"/>
                <a:gd name="connsiteX166" fmla="*/ 1664017 w 1905000"/>
                <a:gd name="connsiteY166" fmla="*/ 285750 h 1866900"/>
                <a:gd name="connsiteX167" fmla="*/ 1672589 w 1905000"/>
                <a:gd name="connsiteY167" fmla="*/ 295275 h 1866900"/>
                <a:gd name="connsiteX168" fmla="*/ 232409 w 1905000"/>
                <a:gd name="connsiteY168" fmla="*/ 295275 h 1866900"/>
                <a:gd name="connsiteX169" fmla="*/ 240981 w 1905000"/>
                <a:gd name="connsiteY169" fmla="*/ 285750 h 1866900"/>
                <a:gd name="connsiteX170" fmla="*/ 286702 w 1905000"/>
                <a:gd name="connsiteY170" fmla="*/ 238125 h 1866900"/>
                <a:gd name="connsiteX171" fmla="*/ 1619250 w 1905000"/>
                <a:gd name="connsiteY171" fmla="*/ 238125 h 1866900"/>
                <a:gd name="connsiteX172" fmla="*/ 1628775 w 1905000"/>
                <a:gd name="connsiteY172" fmla="*/ 247650 h 1866900"/>
                <a:gd name="connsiteX173" fmla="*/ 277177 w 1905000"/>
                <a:gd name="connsiteY173" fmla="*/ 247650 h 1866900"/>
                <a:gd name="connsiteX174" fmla="*/ 286702 w 1905000"/>
                <a:gd name="connsiteY174" fmla="*/ 238125 h 1866900"/>
                <a:gd name="connsiteX175" fmla="*/ 339090 w 1905000"/>
                <a:gd name="connsiteY175" fmla="*/ 190500 h 1866900"/>
                <a:gd name="connsiteX176" fmla="*/ 1565910 w 1905000"/>
                <a:gd name="connsiteY176" fmla="*/ 190500 h 1866900"/>
                <a:gd name="connsiteX177" fmla="*/ 1577340 w 1905000"/>
                <a:gd name="connsiteY177" fmla="*/ 200025 h 1866900"/>
                <a:gd name="connsiteX178" fmla="*/ 327660 w 1905000"/>
                <a:gd name="connsiteY178" fmla="*/ 200025 h 1866900"/>
                <a:gd name="connsiteX179" fmla="*/ 339090 w 1905000"/>
                <a:gd name="connsiteY179" fmla="*/ 190500 h 1866900"/>
                <a:gd name="connsiteX180" fmla="*/ 400049 w 1905000"/>
                <a:gd name="connsiteY180" fmla="*/ 142875 h 1866900"/>
                <a:gd name="connsiteX181" fmla="*/ 1503997 w 1905000"/>
                <a:gd name="connsiteY181" fmla="*/ 142875 h 1866900"/>
                <a:gd name="connsiteX182" fmla="*/ 1517332 w 1905000"/>
                <a:gd name="connsiteY182" fmla="*/ 152400 h 1866900"/>
                <a:gd name="connsiteX183" fmla="*/ 386714 w 1905000"/>
                <a:gd name="connsiteY183" fmla="*/ 152400 h 1866900"/>
                <a:gd name="connsiteX184" fmla="*/ 400049 w 1905000"/>
                <a:gd name="connsiteY184" fmla="*/ 142875 h 1866900"/>
                <a:gd name="connsiteX185" fmla="*/ 474345 w 1905000"/>
                <a:gd name="connsiteY185" fmla="*/ 95250 h 1866900"/>
                <a:gd name="connsiteX186" fmla="*/ 1429702 w 1905000"/>
                <a:gd name="connsiteY186" fmla="*/ 95250 h 1866900"/>
                <a:gd name="connsiteX187" fmla="*/ 1445895 w 1905000"/>
                <a:gd name="connsiteY187" fmla="*/ 104775 h 1866900"/>
                <a:gd name="connsiteX188" fmla="*/ 458152 w 1905000"/>
                <a:gd name="connsiteY188" fmla="*/ 104775 h 1866900"/>
                <a:gd name="connsiteX189" fmla="*/ 474345 w 1905000"/>
                <a:gd name="connsiteY189" fmla="*/ 95250 h 1866900"/>
                <a:gd name="connsiteX190" fmla="*/ 568642 w 1905000"/>
                <a:gd name="connsiteY190" fmla="*/ 47625 h 1866900"/>
                <a:gd name="connsiteX191" fmla="*/ 1337309 w 1905000"/>
                <a:gd name="connsiteY191" fmla="*/ 47625 h 1866900"/>
                <a:gd name="connsiteX192" fmla="*/ 1358265 w 1905000"/>
                <a:gd name="connsiteY192" fmla="*/ 57150 h 1866900"/>
                <a:gd name="connsiteX193" fmla="*/ 547687 w 1905000"/>
                <a:gd name="connsiteY193" fmla="*/ 57150 h 1866900"/>
                <a:gd name="connsiteX194" fmla="*/ 568642 w 1905000"/>
                <a:gd name="connsiteY194" fmla="*/ 47625 h 1866900"/>
                <a:gd name="connsiteX195" fmla="*/ 702945 w 1905000"/>
                <a:gd name="connsiteY195" fmla="*/ 0 h 1866900"/>
                <a:gd name="connsiteX196" fmla="*/ 1203960 w 1905000"/>
                <a:gd name="connsiteY196" fmla="*/ 0 h 1866900"/>
                <a:gd name="connsiteX197" fmla="*/ 1236345 w 1905000"/>
                <a:gd name="connsiteY197" fmla="*/ 9525 h 1866900"/>
                <a:gd name="connsiteX198" fmla="*/ 670560 w 1905000"/>
                <a:gd name="connsiteY198" fmla="*/ 9525 h 1866900"/>
                <a:gd name="connsiteX199" fmla="*/ 702945 w 1905000"/>
                <a:gd name="connsiteY199" fmla="*/ 0 h 186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905000" h="1866900">
                  <a:moveTo>
                    <a:pt x="786764" y="1857375"/>
                  </a:moveTo>
                  <a:lnTo>
                    <a:pt x="1116329" y="1857375"/>
                  </a:lnTo>
                  <a:cubicBezTo>
                    <a:pt x="1093469" y="1861185"/>
                    <a:pt x="1070609" y="1864995"/>
                    <a:pt x="1047749" y="1866900"/>
                  </a:cubicBezTo>
                  <a:lnTo>
                    <a:pt x="855344" y="1866900"/>
                  </a:lnTo>
                  <a:cubicBezTo>
                    <a:pt x="832484" y="1864995"/>
                    <a:pt x="809624" y="1861185"/>
                    <a:pt x="786764" y="1857375"/>
                  </a:cubicBezTo>
                  <a:close/>
                  <a:moveTo>
                    <a:pt x="614362" y="1809750"/>
                  </a:moveTo>
                  <a:lnTo>
                    <a:pt x="1290637" y="1809750"/>
                  </a:lnTo>
                  <a:cubicBezTo>
                    <a:pt x="1281112" y="1812608"/>
                    <a:pt x="1272540" y="1816417"/>
                    <a:pt x="1263967" y="1819275"/>
                  </a:cubicBezTo>
                  <a:lnTo>
                    <a:pt x="640079" y="1819275"/>
                  </a:lnTo>
                  <a:cubicBezTo>
                    <a:pt x="631507" y="1816417"/>
                    <a:pt x="622935" y="1812608"/>
                    <a:pt x="614362" y="1809750"/>
                  </a:cubicBezTo>
                  <a:close/>
                  <a:moveTo>
                    <a:pt x="509587" y="1762125"/>
                  </a:moveTo>
                  <a:lnTo>
                    <a:pt x="1396365" y="1762125"/>
                  </a:lnTo>
                  <a:cubicBezTo>
                    <a:pt x="1389697" y="1764983"/>
                    <a:pt x="1383982" y="1768792"/>
                    <a:pt x="1377315" y="1771650"/>
                  </a:cubicBezTo>
                  <a:lnTo>
                    <a:pt x="527685" y="1771650"/>
                  </a:lnTo>
                  <a:cubicBezTo>
                    <a:pt x="521969" y="1768792"/>
                    <a:pt x="515302" y="1764983"/>
                    <a:pt x="509587" y="1762125"/>
                  </a:cubicBezTo>
                  <a:close/>
                  <a:moveTo>
                    <a:pt x="428625" y="1714500"/>
                  </a:moveTo>
                  <a:lnTo>
                    <a:pt x="1478280" y="1714500"/>
                  </a:lnTo>
                  <a:cubicBezTo>
                    <a:pt x="1472565" y="1717358"/>
                    <a:pt x="1467803" y="1721167"/>
                    <a:pt x="1463040" y="1724025"/>
                  </a:cubicBezTo>
                  <a:lnTo>
                    <a:pt x="443865" y="1724025"/>
                  </a:lnTo>
                  <a:cubicBezTo>
                    <a:pt x="438150" y="1721167"/>
                    <a:pt x="433388" y="1717358"/>
                    <a:pt x="428625" y="1714500"/>
                  </a:cubicBezTo>
                  <a:close/>
                  <a:moveTo>
                    <a:pt x="362902" y="1666875"/>
                  </a:moveTo>
                  <a:lnTo>
                    <a:pt x="1544002" y="1666875"/>
                  </a:lnTo>
                  <a:cubicBezTo>
                    <a:pt x="1540192" y="1669733"/>
                    <a:pt x="1535430" y="1673542"/>
                    <a:pt x="1531620" y="1676400"/>
                  </a:cubicBezTo>
                  <a:lnTo>
                    <a:pt x="375285" y="1676400"/>
                  </a:lnTo>
                  <a:cubicBezTo>
                    <a:pt x="370522" y="1673542"/>
                    <a:pt x="366712" y="1669733"/>
                    <a:pt x="362902" y="1666875"/>
                  </a:cubicBezTo>
                  <a:close/>
                  <a:moveTo>
                    <a:pt x="306705" y="1619250"/>
                  </a:moveTo>
                  <a:lnTo>
                    <a:pt x="1599247" y="1619250"/>
                  </a:lnTo>
                  <a:cubicBezTo>
                    <a:pt x="1595438" y="1622108"/>
                    <a:pt x="1592580" y="1625917"/>
                    <a:pt x="1588770" y="1628775"/>
                  </a:cubicBezTo>
                  <a:lnTo>
                    <a:pt x="317182" y="1628775"/>
                  </a:lnTo>
                  <a:cubicBezTo>
                    <a:pt x="313373" y="1625917"/>
                    <a:pt x="310515" y="1622108"/>
                    <a:pt x="306705" y="1619250"/>
                  </a:cubicBezTo>
                  <a:close/>
                  <a:moveTo>
                    <a:pt x="258127" y="1571625"/>
                  </a:moveTo>
                  <a:lnTo>
                    <a:pt x="1646872" y="1571625"/>
                  </a:lnTo>
                  <a:cubicBezTo>
                    <a:pt x="1643062" y="1574483"/>
                    <a:pt x="1640205" y="1578292"/>
                    <a:pt x="1637347" y="1581150"/>
                  </a:cubicBezTo>
                  <a:lnTo>
                    <a:pt x="266699" y="1581150"/>
                  </a:lnTo>
                  <a:cubicBezTo>
                    <a:pt x="263842" y="1578292"/>
                    <a:pt x="260984" y="1574483"/>
                    <a:pt x="258127" y="1571625"/>
                  </a:cubicBezTo>
                  <a:close/>
                  <a:moveTo>
                    <a:pt x="216217" y="1524000"/>
                  </a:moveTo>
                  <a:lnTo>
                    <a:pt x="1687830" y="1524000"/>
                  </a:lnTo>
                  <a:cubicBezTo>
                    <a:pt x="1684972" y="1526858"/>
                    <a:pt x="1683067" y="1530667"/>
                    <a:pt x="1680209" y="1533525"/>
                  </a:cubicBezTo>
                  <a:lnTo>
                    <a:pt x="223837" y="1533525"/>
                  </a:lnTo>
                  <a:cubicBezTo>
                    <a:pt x="221932" y="1530667"/>
                    <a:pt x="219074" y="1526858"/>
                    <a:pt x="216217" y="1524000"/>
                  </a:cubicBezTo>
                  <a:close/>
                  <a:moveTo>
                    <a:pt x="180022" y="1476375"/>
                  </a:moveTo>
                  <a:lnTo>
                    <a:pt x="1724977" y="1476375"/>
                  </a:lnTo>
                  <a:cubicBezTo>
                    <a:pt x="1723072" y="1479233"/>
                    <a:pt x="1720215" y="1483042"/>
                    <a:pt x="1718310" y="1485900"/>
                  </a:cubicBezTo>
                  <a:lnTo>
                    <a:pt x="186690" y="1485900"/>
                  </a:lnTo>
                  <a:cubicBezTo>
                    <a:pt x="184785" y="1483042"/>
                    <a:pt x="181927" y="1479233"/>
                    <a:pt x="180022" y="1476375"/>
                  </a:cubicBezTo>
                  <a:close/>
                  <a:moveTo>
                    <a:pt x="147637" y="1428750"/>
                  </a:moveTo>
                  <a:lnTo>
                    <a:pt x="1756410" y="1428750"/>
                  </a:lnTo>
                  <a:cubicBezTo>
                    <a:pt x="1754505" y="1431608"/>
                    <a:pt x="1752600" y="1435417"/>
                    <a:pt x="1750695" y="1438275"/>
                  </a:cubicBezTo>
                  <a:lnTo>
                    <a:pt x="153352" y="1438275"/>
                  </a:lnTo>
                  <a:cubicBezTo>
                    <a:pt x="151447" y="1435417"/>
                    <a:pt x="149542" y="1431608"/>
                    <a:pt x="147637" y="1428750"/>
                  </a:cubicBezTo>
                  <a:close/>
                  <a:moveTo>
                    <a:pt x="119062" y="1381125"/>
                  </a:moveTo>
                  <a:lnTo>
                    <a:pt x="1785937" y="1381125"/>
                  </a:lnTo>
                  <a:cubicBezTo>
                    <a:pt x="1784032" y="1383983"/>
                    <a:pt x="1782127" y="1387792"/>
                    <a:pt x="1780222" y="1390650"/>
                  </a:cubicBezTo>
                  <a:lnTo>
                    <a:pt x="124777" y="1390650"/>
                  </a:lnTo>
                  <a:cubicBezTo>
                    <a:pt x="122872" y="1387792"/>
                    <a:pt x="120967" y="1383983"/>
                    <a:pt x="119062" y="1381125"/>
                  </a:cubicBezTo>
                  <a:close/>
                  <a:moveTo>
                    <a:pt x="95250" y="1333500"/>
                  </a:moveTo>
                  <a:lnTo>
                    <a:pt x="1810703" y="1333500"/>
                  </a:lnTo>
                  <a:cubicBezTo>
                    <a:pt x="1808798" y="1336358"/>
                    <a:pt x="1807845" y="1340167"/>
                    <a:pt x="1805940" y="1343025"/>
                  </a:cubicBezTo>
                  <a:lnTo>
                    <a:pt x="100013" y="1343025"/>
                  </a:lnTo>
                  <a:cubicBezTo>
                    <a:pt x="98108" y="1340167"/>
                    <a:pt x="97155" y="1336358"/>
                    <a:pt x="95250" y="1333500"/>
                  </a:cubicBezTo>
                  <a:close/>
                  <a:moveTo>
                    <a:pt x="73342" y="1285875"/>
                  </a:moveTo>
                  <a:lnTo>
                    <a:pt x="1830705" y="1285875"/>
                  </a:lnTo>
                  <a:cubicBezTo>
                    <a:pt x="1829752" y="1288733"/>
                    <a:pt x="1827847" y="1292542"/>
                    <a:pt x="1826895" y="1295400"/>
                  </a:cubicBezTo>
                  <a:lnTo>
                    <a:pt x="77152" y="1295400"/>
                  </a:lnTo>
                  <a:cubicBezTo>
                    <a:pt x="76200" y="1292542"/>
                    <a:pt x="74295" y="1288733"/>
                    <a:pt x="73342" y="1285875"/>
                  </a:cubicBezTo>
                  <a:close/>
                  <a:moveTo>
                    <a:pt x="55245" y="1238250"/>
                  </a:moveTo>
                  <a:lnTo>
                    <a:pt x="1850708" y="1238250"/>
                  </a:lnTo>
                  <a:cubicBezTo>
                    <a:pt x="1848803" y="1241108"/>
                    <a:pt x="1847850" y="1244917"/>
                    <a:pt x="1846898" y="1247775"/>
                  </a:cubicBezTo>
                  <a:lnTo>
                    <a:pt x="59055" y="1247775"/>
                  </a:lnTo>
                  <a:cubicBezTo>
                    <a:pt x="57150" y="1244917"/>
                    <a:pt x="56197" y="1241108"/>
                    <a:pt x="55245" y="1238250"/>
                  </a:cubicBezTo>
                  <a:close/>
                  <a:moveTo>
                    <a:pt x="40004" y="1190625"/>
                  </a:moveTo>
                  <a:lnTo>
                    <a:pt x="1865947" y="1190625"/>
                  </a:lnTo>
                  <a:cubicBezTo>
                    <a:pt x="1864994" y="1193483"/>
                    <a:pt x="1864042" y="1197292"/>
                    <a:pt x="1863089" y="1200150"/>
                  </a:cubicBezTo>
                  <a:lnTo>
                    <a:pt x="42862" y="1200150"/>
                  </a:lnTo>
                  <a:cubicBezTo>
                    <a:pt x="41909" y="1197292"/>
                    <a:pt x="40957" y="1193483"/>
                    <a:pt x="40004" y="1190625"/>
                  </a:cubicBezTo>
                  <a:close/>
                  <a:moveTo>
                    <a:pt x="26669" y="1143000"/>
                  </a:moveTo>
                  <a:lnTo>
                    <a:pt x="1878329" y="1143000"/>
                  </a:lnTo>
                  <a:cubicBezTo>
                    <a:pt x="1878329" y="1145858"/>
                    <a:pt x="1877377" y="1149667"/>
                    <a:pt x="1876424" y="1152525"/>
                  </a:cubicBezTo>
                  <a:lnTo>
                    <a:pt x="29526" y="1152525"/>
                  </a:lnTo>
                  <a:cubicBezTo>
                    <a:pt x="28574" y="1149667"/>
                    <a:pt x="27622" y="1145858"/>
                    <a:pt x="26669" y="1143000"/>
                  </a:cubicBezTo>
                  <a:close/>
                  <a:moveTo>
                    <a:pt x="16192" y="1095375"/>
                  </a:moveTo>
                  <a:lnTo>
                    <a:pt x="1888807" y="1095375"/>
                  </a:lnTo>
                  <a:cubicBezTo>
                    <a:pt x="1887855" y="1098233"/>
                    <a:pt x="1887855" y="1102042"/>
                    <a:pt x="1886902" y="1104900"/>
                  </a:cubicBezTo>
                  <a:lnTo>
                    <a:pt x="18097" y="1104900"/>
                  </a:lnTo>
                  <a:cubicBezTo>
                    <a:pt x="17144" y="1102042"/>
                    <a:pt x="17144" y="1098233"/>
                    <a:pt x="16192" y="1095375"/>
                  </a:cubicBezTo>
                  <a:close/>
                  <a:moveTo>
                    <a:pt x="8572" y="1047750"/>
                  </a:moveTo>
                  <a:lnTo>
                    <a:pt x="1896427" y="1047750"/>
                  </a:lnTo>
                  <a:cubicBezTo>
                    <a:pt x="1896427" y="1050608"/>
                    <a:pt x="1895475" y="1054417"/>
                    <a:pt x="1895475" y="1057275"/>
                  </a:cubicBezTo>
                  <a:lnTo>
                    <a:pt x="9525" y="1057275"/>
                  </a:lnTo>
                  <a:cubicBezTo>
                    <a:pt x="9525" y="1054417"/>
                    <a:pt x="8572" y="1050608"/>
                    <a:pt x="8572" y="1047750"/>
                  </a:cubicBezTo>
                  <a:close/>
                  <a:moveTo>
                    <a:pt x="3810" y="1000125"/>
                  </a:moveTo>
                  <a:lnTo>
                    <a:pt x="1902143" y="1000125"/>
                  </a:lnTo>
                  <a:cubicBezTo>
                    <a:pt x="1902143" y="1002983"/>
                    <a:pt x="1901190" y="1006792"/>
                    <a:pt x="1901190" y="1009650"/>
                  </a:cubicBezTo>
                  <a:lnTo>
                    <a:pt x="4762" y="1009650"/>
                  </a:lnTo>
                  <a:cubicBezTo>
                    <a:pt x="4762" y="1006792"/>
                    <a:pt x="3810" y="1002983"/>
                    <a:pt x="3810" y="1000125"/>
                  </a:cubicBezTo>
                  <a:close/>
                  <a:moveTo>
                    <a:pt x="952" y="952500"/>
                  </a:moveTo>
                  <a:lnTo>
                    <a:pt x="1904047" y="952500"/>
                  </a:lnTo>
                  <a:cubicBezTo>
                    <a:pt x="1904047" y="955358"/>
                    <a:pt x="1904047" y="959167"/>
                    <a:pt x="1904047" y="962025"/>
                  </a:cubicBezTo>
                  <a:lnTo>
                    <a:pt x="952" y="962025"/>
                  </a:lnTo>
                  <a:cubicBezTo>
                    <a:pt x="952" y="959167"/>
                    <a:pt x="952" y="955358"/>
                    <a:pt x="952" y="952500"/>
                  </a:cubicBezTo>
                  <a:close/>
                  <a:moveTo>
                    <a:pt x="0" y="904875"/>
                  </a:moveTo>
                  <a:lnTo>
                    <a:pt x="1905000" y="904875"/>
                  </a:lnTo>
                  <a:cubicBezTo>
                    <a:pt x="1905000" y="907733"/>
                    <a:pt x="1905000" y="911542"/>
                    <a:pt x="1905000" y="914400"/>
                  </a:cubicBezTo>
                  <a:lnTo>
                    <a:pt x="0" y="914400"/>
                  </a:lnTo>
                  <a:cubicBezTo>
                    <a:pt x="0" y="911542"/>
                    <a:pt x="0" y="907733"/>
                    <a:pt x="0" y="904875"/>
                  </a:cubicBezTo>
                  <a:close/>
                  <a:moveTo>
                    <a:pt x="1905" y="857250"/>
                  </a:moveTo>
                  <a:lnTo>
                    <a:pt x="1902142" y="857250"/>
                  </a:lnTo>
                  <a:cubicBezTo>
                    <a:pt x="1903095" y="860108"/>
                    <a:pt x="1903095" y="863917"/>
                    <a:pt x="1903095" y="866775"/>
                  </a:cubicBezTo>
                  <a:lnTo>
                    <a:pt x="952" y="866775"/>
                  </a:lnTo>
                  <a:cubicBezTo>
                    <a:pt x="1905" y="863917"/>
                    <a:pt x="1905" y="860108"/>
                    <a:pt x="1905" y="857250"/>
                  </a:cubicBezTo>
                  <a:close/>
                  <a:moveTo>
                    <a:pt x="6667" y="809625"/>
                  </a:moveTo>
                  <a:lnTo>
                    <a:pt x="1899285" y="809625"/>
                  </a:lnTo>
                  <a:cubicBezTo>
                    <a:pt x="1899285" y="812483"/>
                    <a:pt x="1900238" y="816292"/>
                    <a:pt x="1900238" y="819150"/>
                  </a:cubicBezTo>
                  <a:lnTo>
                    <a:pt x="5715" y="819150"/>
                  </a:lnTo>
                  <a:cubicBezTo>
                    <a:pt x="5715" y="816292"/>
                    <a:pt x="6667" y="812483"/>
                    <a:pt x="6667" y="809625"/>
                  </a:cubicBezTo>
                  <a:close/>
                  <a:moveTo>
                    <a:pt x="13335" y="762000"/>
                  </a:moveTo>
                  <a:lnTo>
                    <a:pt x="1891665" y="762000"/>
                  </a:lnTo>
                  <a:cubicBezTo>
                    <a:pt x="1892618" y="764858"/>
                    <a:pt x="1892618" y="768667"/>
                    <a:pt x="1893570" y="771525"/>
                  </a:cubicBezTo>
                  <a:lnTo>
                    <a:pt x="11430" y="771525"/>
                  </a:lnTo>
                  <a:cubicBezTo>
                    <a:pt x="12382" y="768667"/>
                    <a:pt x="12382" y="764858"/>
                    <a:pt x="13335" y="762000"/>
                  </a:cubicBezTo>
                  <a:close/>
                  <a:moveTo>
                    <a:pt x="21907" y="714375"/>
                  </a:moveTo>
                  <a:lnTo>
                    <a:pt x="1883092" y="714375"/>
                  </a:lnTo>
                  <a:cubicBezTo>
                    <a:pt x="1884045" y="717233"/>
                    <a:pt x="1884045" y="721042"/>
                    <a:pt x="1884997" y="723900"/>
                  </a:cubicBezTo>
                  <a:lnTo>
                    <a:pt x="20002" y="723900"/>
                  </a:lnTo>
                  <a:cubicBezTo>
                    <a:pt x="20955" y="721042"/>
                    <a:pt x="20955" y="717233"/>
                    <a:pt x="21907" y="714375"/>
                  </a:cubicBezTo>
                  <a:close/>
                  <a:moveTo>
                    <a:pt x="34289" y="666750"/>
                  </a:moveTo>
                  <a:lnTo>
                    <a:pt x="1870710" y="666750"/>
                  </a:lnTo>
                  <a:cubicBezTo>
                    <a:pt x="1871662" y="669608"/>
                    <a:pt x="1872615" y="673417"/>
                    <a:pt x="1873567" y="676275"/>
                  </a:cubicBezTo>
                  <a:lnTo>
                    <a:pt x="31432" y="676275"/>
                  </a:lnTo>
                  <a:cubicBezTo>
                    <a:pt x="32385" y="673417"/>
                    <a:pt x="33337" y="669608"/>
                    <a:pt x="34289" y="666750"/>
                  </a:cubicBezTo>
                  <a:close/>
                  <a:moveTo>
                    <a:pt x="48577" y="619125"/>
                  </a:moveTo>
                  <a:lnTo>
                    <a:pt x="1857375" y="619125"/>
                  </a:lnTo>
                  <a:cubicBezTo>
                    <a:pt x="1858328" y="621983"/>
                    <a:pt x="1859280" y="625792"/>
                    <a:pt x="1860233" y="628650"/>
                  </a:cubicBezTo>
                  <a:lnTo>
                    <a:pt x="45720" y="628650"/>
                  </a:lnTo>
                  <a:cubicBezTo>
                    <a:pt x="46672" y="625792"/>
                    <a:pt x="47625" y="621983"/>
                    <a:pt x="48577" y="619125"/>
                  </a:cubicBezTo>
                  <a:close/>
                  <a:moveTo>
                    <a:pt x="65722" y="571500"/>
                  </a:moveTo>
                  <a:lnTo>
                    <a:pt x="1839277" y="571500"/>
                  </a:lnTo>
                  <a:cubicBezTo>
                    <a:pt x="1840230" y="574357"/>
                    <a:pt x="1842135" y="578168"/>
                    <a:pt x="1843087" y="581025"/>
                  </a:cubicBezTo>
                  <a:lnTo>
                    <a:pt x="61912" y="581025"/>
                  </a:lnTo>
                  <a:cubicBezTo>
                    <a:pt x="62864" y="578168"/>
                    <a:pt x="64770" y="574357"/>
                    <a:pt x="65722" y="571500"/>
                  </a:cubicBezTo>
                  <a:close/>
                  <a:moveTo>
                    <a:pt x="85725" y="523875"/>
                  </a:moveTo>
                  <a:lnTo>
                    <a:pt x="1819275" y="523875"/>
                  </a:lnTo>
                  <a:cubicBezTo>
                    <a:pt x="1820227" y="526732"/>
                    <a:pt x="1822132" y="530543"/>
                    <a:pt x="1823085" y="533400"/>
                  </a:cubicBezTo>
                  <a:lnTo>
                    <a:pt x="80962" y="533400"/>
                  </a:lnTo>
                  <a:cubicBezTo>
                    <a:pt x="82867" y="530543"/>
                    <a:pt x="83820" y="526732"/>
                    <a:pt x="85725" y="523875"/>
                  </a:cubicBezTo>
                  <a:close/>
                  <a:moveTo>
                    <a:pt x="109538" y="476250"/>
                  </a:moveTo>
                  <a:lnTo>
                    <a:pt x="1796415" y="476250"/>
                  </a:lnTo>
                  <a:cubicBezTo>
                    <a:pt x="1798320" y="479107"/>
                    <a:pt x="1799273" y="482918"/>
                    <a:pt x="1801178" y="485775"/>
                  </a:cubicBezTo>
                  <a:lnTo>
                    <a:pt x="104775" y="485775"/>
                  </a:lnTo>
                  <a:cubicBezTo>
                    <a:pt x="105728" y="482918"/>
                    <a:pt x="107633" y="479107"/>
                    <a:pt x="109538" y="476250"/>
                  </a:cubicBezTo>
                  <a:close/>
                  <a:moveTo>
                    <a:pt x="136207" y="428625"/>
                  </a:moveTo>
                  <a:lnTo>
                    <a:pt x="1768792" y="428625"/>
                  </a:lnTo>
                  <a:cubicBezTo>
                    <a:pt x="1770697" y="431482"/>
                    <a:pt x="1772602" y="435293"/>
                    <a:pt x="1774507" y="438150"/>
                  </a:cubicBezTo>
                  <a:lnTo>
                    <a:pt x="130492" y="438150"/>
                  </a:lnTo>
                  <a:cubicBezTo>
                    <a:pt x="132397" y="435293"/>
                    <a:pt x="134302" y="431482"/>
                    <a:pt x="136207" y="428625"/>
                  </a:cubicBezTo>
                  <a:close/>
                  <a:moveTo>
                    <a:pt x="166687" y="381000"/>
                  </a:moveTo>
                  <a:lnTo>
                    <a:pt x="1738312" y="381000"/>
                  </a:lnTo>
                  <a:cubicBezTo>
                    <a:pt x="1741169" y="383857"/>
                    <a:pt x="1743074" y="387668"/>
                    <a:pt x="1744979" y="390525"/>
                  </a:cubicBezTo>
                  <a:lnTo>
                    <a:pt x="160019" y="390525"/>
                  </a:lnTo>
                  <a:cubicBezTo>
                    <a:pt x="162877" y="387668"/>
                    <a:pt x="164782" y="383857"/>
                    <a:pt x="166687" y="381000"/>
                  </a:cubicBezTo>
                  <a:close/>
                  <a:moveTo>
                    <a:pt x="201929" y="333375"/>
                  </a:moveTo>
                  <a:lnTo>
                    <a:pt x="1704022" y="333375"/>
                  </a:lnTo>
                  <a:cubicBezTo>
                    <a:pt x="1706879" y="336232"/>
                    <a:pt x="1708784" y="340043"/>
                    <a:pt x="1711642" y="342900"/>
                  </a:cubicBezTo>
                  <a:lnTo>
                    <a:pt x="194309" y="342900"/>
                  </a:lnTo>
                  <a:cubicBezTo>
                    <a:pt x="197167" y="340043"/>
                    <a:pt x="199072" y="336232"/>
                    <a:pt x="201929" y="333375"/>
                  </a:cubicBezTo>
                  <a:close/>
                  <a:moveTo>
                    <a:pt x="240981" y="285750"/>
                  </a:moveTo>
                  <a:lnTo>
                    <a:pt x="1664017" y="285750"/>
                  </a:lnTo>
                  <a:cubicBezTo>
                    <a:pt x="1666874" y="288607"/>
                    <a:pt x="1669732" y="292418"/>
                    <a:pt x="1672589" y="295275"/>
                  </a:cubicBezTo>
                  <a:lnTo>
                    <a:pt x="232409" y="295275"/>
                  </a:lnTo>
                  <a:cubicBezTo>
                    <a:pt x="235267" y="292418"/>
                    <a:pt x="238124" y="288607"/>
                    <a:pt x="240981" y="285750"/>
                  </a:cubicBezTo>
                  <a:close/>
                  <a:moveTo>
                    <a:pt x="286702" y="238125"/>
                  </a:moveTo>
                  <a:lnTo>
                    <a:pt x="1619250" y="238125"/>
                  </a:lnTo>
                  <a:cubicBezTo>
                    <a:pt x="1622107" y="240982"/>
                    <a:pt x="1625917" y="244793"/>
                    <a:pt x="1628775" y="247650"/>
                  </a:cubicBezTo>
                  <a:lnTo>
                    <a:pt x="277177" y="247650"/>
                  </a:lnTo>
                  <a:cubicBezTo>
                    <a:pt x="280034" y="244793"/>
                    <a:pt x="282892" y="240982"/>
                    <a:pt x="286702" y="238125"/>
                  </a:cubicBezTo>
                  <a:close/>
                  <a:moveTo>
                    <a:pt x="339090" y="190500"/>
                  </a:moveTo>
                  <a:lnTo>
                    <a:pt x="1565910" y="190500"/>
                  </a:lnTo>
                  <a:cubicBezTo>
                    <a:pt x="1569720" y="193357"/>
                    <a:pt x="1573530" y="197168"/>
                    <a:pt x="1577340" y="200025"/>
                  </a:cubicBezTo>
                  <a:lnTo>
                    <a:pt x="327660" y="200025"/>
                  </a:lnTo>
                  <a:cubicBezTo>
                    <a:pt x="331470" y="197168"/>
                    <a:pt x="335280" y="193357"/>
                    <a:pt x="339090" y="190500"/>
                  </a:cubicBezTo>
                  <a:close/>
                  <a:moveTo>
                    <a:pt x="400049" y="142875"/>
                  </a:moveTo>
                  <a:lnTo>
                    <a:pt x="1503997" y="142875"/>
                  </a:lnTo>
                  <a:cubicBezTo>
                    <a:pt x="1508759" y="145733"/>
                    <a:pt x="1512569" y="149542"/>
                    <a:pt x="1517332" y="152400"/>
                  </a:cubicBezTo>
                  <a:lnTo>
                    <a:pt x="386714" y="152400"/>
                  </a:lnTo>
                  <a:cubicBezTo>
                    <a:pt x="391477" y="149542"/>
                    <a:pt x="395287" y="145733"/>
                    <a:pt x="400049" y="142875"/>
                  </a:cubicBezTo>
                  <a:close/>
                  <a:moveTo>
                    <a:pt x="474345" y="95250"/>
                  </a:moveTo>
                  <a:lnTo>
                    <a:pt x="1429702" y="95250"/>
                  </a:lnTo>
                  <a:cubicBezTo>
                    <a:pt x="1435417" y="98108"/>
                    <a:pt x="1440180" y="101917"/>
                    <a:pt x="1445895" y="104775"/>
                  </a:cubicBezTo>
                  <a:lnTo>
                    <a:pt x="458152" y="104775"/>
                  </a:lnTo>
                  <a:cubicBezTo>
                    <a:pt x="463867" y="101917"/>
                    <a:pt x="468630" y="98108"/>
                    <a:pt x="474345" y="95250"/>
                  </a:cubicBezTo>
                  <a:close/>
                  <a:moveTo>
                    <a:pt x="568642" y="47625"/>
                  </a:moveTo>
                  <a:lnTo>
                    <a:pt x="1337309" y="47625"/>
                  </a:lnTo>
                  <a:cubicBezTo>
                    <a:pt x="1343977" y="50483"/>
                    <a:pt x="1351597" y="54292"/>
                    <a:pt x="1358265" y="57150"/>
                  </a:cubicBezTo>
                  <a:lnTo>
                    <a:pt x="547687" y="57150"/>
                  </a:lnTo>
                  <a:cubicBezTo>
                    <a:pt x="554355" y="54292"/>
                    <a:pt x="561975" y="50483"/>
                    <a:pt x="568642" y="47625"/>
                  </a:cubicBezTo>
                  <a:close/>
                  <a:moveTo>
                    <a:pt x="702945" y="0"/>
                  </a:moveTo>
                  <a:lnTo>
                    <a:pt x="1203960" y="0"/>
                  </a:lnTo>
                  <a:cubicBezTo>
                    <a:pt x="1214438" y="2858"/>
                    <a:pt x="1225867" y="5715"/>
                    <a:pt x="1236345" y="9525"/>
                  </a:cubicBezTo>
                  <a:lnTo>
                    <a:pt x="670560" y="9525"/>
                  </a:lnTo>
                  <a:cubicBezTo>
                    <a:pt x="681037" y="5715"/>
                    <a:pt x="692467" y="2858"/>
                    <a:pt x="702945" y="0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0" name="任意多边形: 形状 7">
              <a:extLst>
                <a:ext uri="{FF2B5EF4-FFF2-40B4-BE49-F238E27FC236}">
                  <a16:creationId xmlns:a16="http://schemas.microsoft.com/office/drawing/2014/main" id="{B12EC4E2-8D6F-42F4-9502-A731433702A2}"/>
                </a:ext>
              </a:extLst>
            </p:cNvPr>
            <p:cNvSpPr/>
            <p:nvPr/>
          </p:nvSpPr>
          <p:spPr>
            <a:xfrm>
              <a:off x="9421670" y="0"/>
              <a:ext cx="2770331" cy="1398732"/>
            </a:xfrm>
            <a:custGeom>
              <a:avLst/>
              <a:gdLst>
                <a:gd name="connsiteX0" fmla="*/ 685 w 2770331"/>
                <a:gd name="connsiteY0" fmla="*/ 0 h 1398732"/>
                <a:gd name="connsiteX1" fmla="*/ 2769647 w 2770331"/>
                <a:gd name="connsiteY1" fmla="*/ 0 h 1398732"/>
                <a:gd name="connsiteX2" fmla="*/ 2770331 w 2770331"/>
                <a:gd name="connsiteY2" fmla="*/ 13546 h 1398732"/>
                <a:gd name="connsiteX3" fmla="*/ 2770331 w 2770331"/>
                <a:gd name="connsiteY3" fmla="*/ 13586 h 1398732"/>
                <a:gd name="connsiteX4" fmla="*/ 2763181 w 2770331"/>
                <a:gd name="connsiteY4" fmla="*/ 155191 h 1398732"/>
                <a:gd name="connsiteX5" fmla="*/ 1385167 w 2770331"/>
                <a:gd name="connsiteY5" fmla="*/ 1398732 h 1398732"/>
                <a:gd name="connsiteX6" fmla="*/ 0 w 2770331"/>
                <a:gd name="connsiteY6" fmla="*/ 13566 h 1398732"/>
                <a:gd name="connsiteX7" fmla="*/ 685 w 2770331"/>
                <a:gd name="connsiteY7" fmla="*/ 0 h 139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0331" h="1398732">
                  <a:moveTo>
                    <a:pt x="685" y="0"/>
                  </a:moveTo>
                  <a:lnTo>
                    <a:pt x="2769647" y="0"/>
                  </a:lnTo>
                  <a:lnTo>
                    <a:pt x="2770331" y="13546"/>
                  </a:lnTo>
                  <a:lnTo>
                    <a:pt x="2770331" y="13586"/>
                  </a:lnTo>
                  <a:lnTo>
                    <a:pt x="2763181" y="155191"/>
                  </a:lnTo>
                  <a:cubicBezTo>
                    <a:pt x="2692246" y="853670"/>
                    <a:pt x="2102359" y="1398732"/>
                    <a:pt x="1385167" y="1398732"/>
                  </a:cubicBezTo>
                  <a:cubicBezTo>
                    <a:pt x="620160" y="1398732"/>
                    <a:pt x="0" y="778572"/>
                    <a:pt x="0" y="13566"/>
                  </a:cubicBezTo>
                  <a:lnTo>
                    <a:pt x="685" y="0"/>
                  </a:lnTo>
                  <a:close/>
                </a:path>
              </a:pathLst>
            </a:custGeom>
            <a:grpFill/>
            <a:ln w="110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1" name="任意多边形: 形状 8">
              <a:extLst>
                <a:ext uri="{FF2B5EF4-FFF2-40B4-BE49-F238E27FC236}">
                  <a16:creationId xmlns:a16="http://schemas.microsoft.com/office/drawing/2014/main" id="{2D272403-40BD-427A-A3AF-22CDE281BD98}"/>
                </a:ext>
              </a:extLst>
            </p:cNvPr>
            <p:cNvSpPr/>
            <p:nvPr/>
          </p:nvSpPr>
          <p:spPr>
            <a:xfrm>
              <a:off x="5252643" y="3384444"/>
              <a:ext cx="4217150" cy="3473556"/>
            </a:xfrm>
            <a:custGeom>
              <a:avLst/>
              <a:gdLst>
                <a:gd name="connsiteX0" fmla="*/ 2852892 w 4217150"/>
                <a:gd name="connsiteY0" fmla="*/ 466 h 3473556"/>
                <a:gd name="connsiteX1" fmla="*/ 3516107 w 4217150"/>
                <a:gd name="connsiteY1" fmla="*/ 187901 h 3473556"/>
                <a:gd name="connsiteX2" fmla="*/ 4029249 w 4217150"/>
                <a:gd name="connsiteY2" fmla="*/ 2103072 h 3473556"/>
                <a:gd name="connsiteX3" fmla="*/ 3237888 w 4217150"/>
                <a:gd name="connsiteY3" fmla="*/ 3473556 h 3473556"/>
                <a:gd name="connsiteX4" fmla="*/ 0 w 4217150"/>
                <a:gd name="connsiteY4" fmla="*/ 3473556 h 3473556"/>
                <a:gd name="connsiteX5" fmla="*/ 1600936 w 4217150"/>
                <a:gd name="connsiteY5" fmla="*/ 701044 h 3473556"/>
                <a:gd name="connsiteX6" fmla="*/ 2852892 w 4217150"/>
                <a:gd name="connsiteY6" fmla="*/ 466 h 347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7150" h="3473556">
                  <a:moveTo>
                    <a:pt x="2852892" y="466"/>
                  </a:moveTo>
                  <a:cubicBezTo>
                    <a:pt x="3078904" y="6295"/>
                    <a:pt x="3306679" y="66976"/>
                    <a:pt x="3516107" y="187901"/>
                  </a:cubicBezTo>
                  <a:cubicBezTo>
                    <a:pt x="4186277" y="574861"/>
                    <a:pt x="4416209" y="1432902"/>
                    <a:pt x="4029249" y="2103072"/>
                  </a:cubicBezTo>
                  <a:lnTo>
                    <a:pt x="3237888" y="3473556"/>
                  </a:lnTo>
                  <a:lnTo>
                    <a:pt x="0" y="3473556"/>
                  </a:lnTo>
                  <a:lnTo>
                    <a:pt x="1600936" y="701044"/>
                  </a:lnTo>
                  <a:cubicBezTo>
                    <a:pt x="1866971" y="240302"/>
                    <a:pt x="2355666" y="-12359"/>
                    <a:pt x="2852892" y="466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>
                <a:latin typeface="Agency FB" panose="020B0503020202020204" pitchFamily="34" charset="0"/>
              </a:rPr>
              <a:t>Interferencia Electromagnética (EMI) </a:t>
            </a:r>
            <a:endParaRPr lang="zh-CN" altLang="en-US" sz="3600">
              <a:latin typeface="Agency FB" panose="020B0503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Rectángulo 4"/>
          <p:cNvSpPr/>
          <p:nvPr/>
        </p:nvSpPr>
        <p:spPr>
          <a:xfrm>
            <a:off x="669922" y="1342016"/>
            <a:ext cx="5280712" cy="120032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ES" b="1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cepto: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rturbación que ocurre en cualquier circuito, componente o sistema electrónico causada por una fuente externa al mismo.</a:t>
            </a:r>
            <a:endParaRPr lang="es-MX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095205" y="2584213"/>
            <a:ext cx="5531147" cy="14773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ES" b="1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uente de la interferencia electromagnética.</a:t>
            </a:r>
          </a:p>
          <a:p>
            <a:pPr algn="just"/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Puede ser cualquier objeto, ya sea artificial o natural, que posea corriente eléctrica que varíen rápidamente, como un circuito eléctrico, el Sol o las auroras boreales</a:t>
            </a:r>
            <a:r>
              <a:rPr lang="es-ES"/>
              <a:t>.</a:t>
            </a:r>
          </a:p>
        </p:txBody>
      </p:sp>
      <p:sp>
        <p:nvSpPr>
          <p:cNvPr id="7" name="Rectángulo 6"/>
          <p:cNvSpPr/>
          <p:nvPr/>
        </p:nvSpPr>
        <p:spPr>
          <a:xfrm>
            <a:off x="669922" y="4621090"/>
            <a:ext cx="11062293" cy="2031325"/>
          </a:xfrm>
          <a:prstGeom prst="rect">
            <a:avLst/>
          </a:prstGeom>
          <a:ln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MX" b="1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ausa de la interferencia electromagnética.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curre cuando radiotransmisores y equipos electrónicos operan dentro de un rango muy próximo entre sí.</a:t>
            </a:r>
          </a:p>
          <a:p>
            <a:pPr algn="just"/>
            <a:r>
              <a:rPr lang="es-ES" u="sng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a interferencia es causada por: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Equipos radiotransmisores incorrectamente instalados.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Una señal radioeléctrica intensa desde un trasmisor cercano.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Emisiones o señales no deseadas (llamadas radiaciones espúreas) generadas por el equipo trasmisor.</a:t>
            </a:r>
          </a:p>
          <a:p>
            <a:pPr algn="just"/>
            <a:r>
              <a:rPr lang="es-ES">
                <a:solidFill>
                  <a:srgbClr val="00113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Blindaje o filtrado insuficiente en el equipo electrónico para evitar que capte señales indeseadas.</a:t>
            </a:r>
            <a:endParaRPr lang="es-MX">
              <a:solidFill>
                <a:srgbClr val="001133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1392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5">
            <a:extLst>
              <a:ext uri="{FF2B5EF4-FFF2-40B4-BE49-F238E27FC236}">
                <a16:creationId xmlns:a16="http://schemas.microsoft.com/office/drawing/2014/main" id="{B20079A2-31CE-44D6-B924-1FF5F075B638}"/>
              </a:ext>
            </a:extLst>
          </p:cNvPr>
          <p:cNvGrpSpPr/>
          <p:nvPr/>
        </p:nvGrpSpPr>
        <p:grpSpPr>
          <a:xfrm>
            <a:off x="5252647" y="0"/>
            <a:ext cx="6939359" cy="6858000"/>
            <a:chOff x="5252643" y="0"/>
            <a:chExt cx="6939358" cy="6858000"/>
          </a:xfrm>
          <a:solidFill>
            <a:srgbClr val="F7F7F7"/>
          </a:solidFill>
        </p:grpSpPr>
        <p:sp>
          <p:nvSpPr>
            <p:cNvPr id="9" name="任意多边形: 形状 6">
              <a:extLst>
                <a:ext uri="{FF2B5EF4-FFF2-40B4-BE49-F238E27FC236}">
                  <a16:creationId xmlns:a16="http://schemas.microsoft.com/office/drawing/2014/main" id="{87027812-39ED-48F2-B846-15AF98F3E812}"/>
                </a:ext>
              </a:extLst>
            </p:cNvPr>
            <p:cNvSpPr>
              <a:spLocks/>
            </p:cNvSpPr>
            <p:nvPr/>
          </p:nvSpPr>
          <p:spPr>
            <a:xfrm rot="19800000">
              <a:off x="7350845" y="2199545"/>
              <a:ext cx="2772000" cy="2772000"/>
            </a:xfrm>
            <a:custGeom>
              <a:avLst/>
              <a:gdLst>
                <a:gd name="connsiteX0" fmla="*/ 786764 w 1905000"/>
                <a:gd name="connsiteY0" fmla="*/ 1857375 h 1866900"/>
                <a:gd name="connsiteX1" fmla="*/ 1116329 w 1905000"/>
                <a:gd name="connsiteY1" fmla="*/ 1857375 h 1866900"/>
                <a:gd name="connsiteX2" fmla="*/ 1047749 w 1905000"/>
                <a:gd name="connsiteY2" fmla="*/ 1866900 h 1866900"/>
                <a:gd name="connsiteX3" fmla="*/ 855344 w 1905000"/>
                <a:gd name="connsiteY3" fmla="*/ 1866900 h 1866900"/>
                <a:gd name="connsiteX4" fmla="*/ 786764 w 1905000"/>
                <a:gd name="connsiteY4" fmla="*/ 1857375 h 1866900"/>
                <a:gd name="connsiteX5" fmla="*/ 614362 w 1905000"/>
                <a:gd name="connsiteY5" fmla="*/ 1809750 h 1866900"/>
                <a:gd name="connsiteX6" fmla="*/ 1290637 w 1905000"/>
                <a:gd name="connsiteY6" fmla="*/ 1809750 h 1866900"/>
                <a:gd name="connsiteX7" fmla="*/ 1263967 w 1905000"/>
                <a:gd name="connsiteY7" fmla="*/ 1819275 h 1866900"/>
                <a:gd name="connsiteX8" fmla="*/ 640079 w 1905000"/>
                <a:gd name="connsiteY8" fmla="*/ 1819275 h 1866900"/>
                <a:gd name="connsiteX9" fmla="*/ 614362 w 1905000"/>
                <a:gd name="connsiteY9" fmla="*/ 1809750 h 1866900"/>
                <a:gd name="connsiteX10" fmla="*/ 509587 w 1905000"/>
                <a:gd name="connsiteY10" fmla="*/ 1762125 h 1866900"/>
                <a:gd name="connsiteX11" fmla="*/ 1396365 w 1905000"/>
                <a:gd name="connsiteY11" fmla="*/ 1762125 h 1866900"/>
                <a:gd name="connsiteX12" fmla="*/ 1377315 w 1905000"/>
                <a:gd name="connsiteY12" fmla="*/ 1771650 h 1866900"/>
                <a:gd name="connsiteX13" fmla="*/ 527685 w 1905000"/>
                <a:gd name="connsiteY13" fmla="*/ 1771650 h 1866900"/>
                <a:gd name="connsiteX14" fmla="*/ 509587 w 1905000"/>
                <a:gd name="connsiteY14" fmla="*/ 1762125 h 1866900"/>
                <a:gd name="connsiteX15" fmla="*/ 428625 w 1905000"/>
                <a:gd name="connsiteY15" fmla="*/ 1714500 h 1866900"/>
                <a:gd name="connsiteX16" fmla="*/ 1478280 w 1905000"/>
                <a:gd name="connsiteY16" fmla="*/ 1714500 h 1866900"/>
                <a:gd name="connsiteX17" fmla="*/ 1463040 w 1905000"/>
                <a:gd name="connsiteY17" fmla="*/ 1724025 h 1866900"/>
                <a:gd name="connsiteX18" fmla="*/ 443865 w 1905000"/>
                <a:gd name="connsiteY18" fmla="*/ 1724025 h 1866900"/>
                <a:gd name="connsiteX19" fmla="*/ 428625 w 1905000"/>
                <a:gd name="connsiteY19" fmla="*/ 1714500 h 1866900"/>
                <a:gd name="connsiteX20" fmla="*/ 362902 w 1905000"/>
                <a:gd name="connsiteY20" fmla="*/ 1666875 h 1866900"/>
                <a:gd name="connsiteX21" fmla="*/ 1544002 w 1905000"/>
                <a:gd name="connsiteY21" fmla="*/ 1666875 h 1866900"/>
                <a:gd name="connsiteX22" fmla="*/ 1531620 w 1905000"/>
                <a:gd name="connsiteY22" fmla="*/ 1676400 h 1866900"/>
                <a:gd name="connsiteX23" fmla="*/ 375285 w 1905000"/>
                <a:gd name="connsiteY23" fmla="*/ 1676400 h 1866900"/>
                <a:gd name="connsiteX24" fmla="*/ 362902 w 1905000"/>
                <a:gd name="connsiteY24" fmla="*/ 1666875 h 1866900"/>
                <a:gd name="connsiteX25" fmla="*/ 306705 w 1905000"/>
                <a:gd name="connsiteY25" fmla="*/ 1619250 h 1866900"/>
                <a:gd name="connsiteX26" fmla="*/ 1599247 w 1905000"/>
                <a:gd name="connsiteY26" fmla="*/ 1619250 h 1866900"/>
                <a:gd name="connsiteX27" fmla="*/ 1588770 w 1905000"/>
                <a:gd name="connsiteY27" fmla="*/ 1628775 h 1866900"/>
                <a:gd name="connsiteX28" fmla="*/ 317182 w 1905000"/>
                <a:gd name="connsiteY28" fmla="*/ 1628775 h 1866900"/>
                <a:gd name="connsiteX29" fmla="*/ 306705 w 1905000"/>
                <a:gd name="connsiteY29" fmla="*/ 1619250 h 1866900"/>
                <a:gd name="connsiteX30" fmla="*/ 258127 w 1905000"/>
                <a:gd name="connsiteY30" fmla="*/ 1571625 h 1866900"/>
                <a:gd name="connsiteX31" fmla="*/ 1646872 w 1905000"/>
                <a:gd name="connsiteY31" fmla="*/ 1571625 h 1866900"/>
                <a:gd name="connsiteX32" fmla="*/ 1637347 w 1905000"/>
                <a:gd name="connsiteY32" fmla="*/ 1581150 h 1866900"/>
                <a:gd name="connsiteX33" fmla="*/ 266699 w 1905000"/>
                <a:gd name="connsiteY33" fmla="*/ 1581150 h 1866900"/>
                <a:gd name="connsiteX34" fmla="*/ 258127 w 1905000"/>
                <a:gd name="connsiteY34" fmla="*/ 1571625 h 1866900"/>
                <a:gd name="connsiteX35" fmla="*/ 216217 w 1905000"/>
                <a:gd name="connsiteY35" fmla="*/ 1524000 h 1866900"/>
                <a:gd name="connsiteX36" fmla="*/ 1687830 w 1905000"/>
                <a:gd name="connsiteY36" fmla="*/ 1524000 h 1866900"/>
                <a:gd name="connsiteX37" fmla="*/ 1680209 w 1905000"/>
                <a:gd name="connsiteY37" fmla="*/ 1533525 h 1866900"/>
                <a:gd name="connsiteX38" fmla="*/ 223837 w 1905000"/>
                <a:gd name="connsiteY38" fmla="*/ 1533525 h 1866900"/>
                <a:gd name="connsiteX39" fmla="*/ 216217 w 1905000"/>
                <a:gd name="connsiteY39" fmla="*/ 1524000 h 1866900"/>
                <a:gd name="connsiteX40" fmla="*/ 180022 w 1905000"/>
                <a:gd name="connsiteY40" fmla="*/ 1476375 h 1866900"/>
                <a:gd name="connsiteX41" fmla="*/ 1724977 w 1905000"/>
                <a:gd name="connsiteY41" fmla="*/ 1476375 h 1866900"/>
                <a:gd name="connsiteX42" fmla="*/ 1718310 w 1905000"/>
                <a:gd name="connsiteY42" fmla="*/ 1485900 h 1866900"/>
                <a:gd name="connsiteX43" fmla="*/ 186690 w 1905000"/>
                <a:gd name="connsiteY43" fmla="*/ 1485900 h 1866900"/>
                <a:gd name="connsiteX44" fmla="*/ 180022 w 1905000"/>
                <a:gd name="connsiteY44" fmla="*/ 1476375 h 1866900"/>
                <a:gd name="connsiteX45" fmla="*/ 147637 w 1905000"/>
                <a:gd name="connsiteY45" fmla="*/ 1428750 h 1866900"/>
                <a:gd name="connsiteX46" fmla="*/ 1756410 w 1905000"/>
                <a:gd name="connsiteY46" fmla="*/ 1428750 h 1866900"/>
                <a:gd name="connsiteX47" fmla="*/ 1750695 w 1905000"/>
                <a:gd name="connsiteY47" fmla="*/ 1438275 h 1866900"/>
                <a:gd name="connsiteX48" fmla="*/ 153352 w 1905000"/>
                <a:gd name="connsiteY48" fmla="*/ 1438275 h 1866900"/>
                <a:gd name="connsiteX49" fmla="*/ 147637 w 1905000"/>
                <a:gd name="connsiteY49" fmla="*/ 1428750 h 1866900"/>
                <a:gd name="connsiteX50" fmla="*/ 119062 w 1905000"/>
                <a:gd name="connsiteY50" fmla="*/ 1381125 h 1866900"/>
                <a:gd name="connsiteX51" fmla="*/ 1785937 w 1905000"/>
                <a:gd name="connsiteY51" fmla="*/ 1381125 h 1866900"/>
                <a:gd name="connsiteX52" fmla="*/ 1780222 w 1905000"/>
                <a:gd name="connsiteY52" fmla="*/ 1390650 h 1866900"/>
                <a:gd name="connsiteX53" fmla="*/ 124777 w 1905000"/>
                <a:gd name="connsiteY53" fmla="*/ 1390650 h 1866900"/>
                <a:gd name="connsiteX54" fmla="*/ 119062 w 1905000"/>
                <a:gd name="connsiteY54" fmla="*/ 1381125 h 1866900"/>
                <a:gd name="connsiteX55" fmla="*/ 95250 w 1905000"/>
                <a:gd name="connsiteY55" fmla="*/ 1333500 h 1866900"/>
                <a:gd name="connsiteX56" fmla="*/ 1810703 w 1905000"/>
                <a:gd name="connsiteY56" fmla="*/ 1333500 h 1866900"/>
                <a:gd name="connsiteX57" fmla="*/ 1805940 w 1905000"/>
                <a:gd name="connsiteY57" fmla="*/ 1343025 h 1866900"/>
                <a:gd name="connsiteX58" fmla="*/ 100013 w 1905000"/>
                <a:gd name="connsiteY58" fmla="*/ 1343025 h 1866900"/>
                <a:gd name="connsiteX59" fmla="*/ 95250 w 1905000"/>
                <a:gd name="connsiteY59" fmla="*/ 1333500 h 1866900"/>
                <a:gd name="connsiteX60" fmla="*/ 73342 w 1905000"/>
                <a:gd name="connsiteY60" fmla="*/ 1285875 h 1866900"/>
                <a:gd name="connsiteX61" fmla="*/ 1830705 w 1905000"/>
                <a:gd name="connsiteY61" fmla="*/ 1285875 h 1866900"/>
                <a:gd name="connsiteX62" fmla="*/ 1826895 w 1905000"/>
                <a:gd name="connsiteY62" fmla="*/ 1295400 h 1866900"/>
                <a:gd name="connsiteX63" fmla="*/ 77152 w 1905000"/>
                <a:gd name="connsiteY63" fmla="*/ 1295400 h 1866900"/>
                <a:gd name="connsiteX64" fmla="*/ 73342 w 1905000"/>
                <a:gd name="connsiteY64" fmla="*/ 1285875 h 1866900"/>
                <a:gd name="connsiteX65" fmla="*/ 55245 w 1905000"/>
                <a:gd name="connsiteY65" fmla="*/ 1238250 h 1866900"/>
                <a:gd name="connsiteX66" fmla="*/ 1850708 w 1905000"/>
                <a:gd name="connsiteY66" fmla="*/ 1238250 h 1866900"/>
                <a:gd name="connsiteX67" fmla="*/ 1846898 w 1905000"/>
                <a:gd name="connsiteY67" fmla="*/ 1247775 h 1866900"/>
                <a:gd name="connsiteX68" fmla="*/ 59055 w 1905000"/>
                <a:gd name="connsiteY68" fmla="*/ 1247775 h 1866900"/>
                <a:gd name="connsiteX69" fmla="*/ 55245 w 1905000"/>
                <a:gd name="connsiteY69" fmla="*/ 1238250 h 1866900"/>
                <a:gd name="connsiteX70" fmla="*/ 40004 w 1905000"/>
                <a:gd name="connsiteY70" fmla="*/ 1190625 h 1866900"/>
                <a:gd name="connsiteX71" fmla="*/ 1865947 w 1905000"/>
                <a:gd name="connsiteY71" fmla="*/ 1190625 h 1866900"/>
                <a:gd name="connsiteX72" fmla="*/ 1863089 w 1905000"/>
                <a:gd name="connsiteY72" fmla="*/ 1200150 h 1866900"/>
                <a:gd name="connsiteX73" fmla="*/ 42862 w 1905000"/>
                <a:gd name="connsiteY73" fmla="*/ 1200150 h 1866900"/>
                <a:gd name="connsiteX74" fmla="*/ 40004 w 1905000"/>
                <a:gd name="connsiteY74" fmla="*/ 1190625 h 1866900"/>
                <a:gd name="connsiteX75" fmla="*/ 26669 w 1905000"/>
                <a:gd name="connsiteY75" fmla="*/ 1143000 h 1866900"/>
                <a:gd name="connsiteX76" fmla="*/ 1878329 w 1905000"/>
                <a:gd name="connsiteY76" fmla="*/ 1143000 h 1866900"/>
                <a:gd name="connsiteX77" fmla="*/ 1876424 w 1905000"/>
                <a:gd name="connsiteY77" fmla="*/ 1152525 h 1866900"/>
                <a:gd name="connsiteX78" fmla="*/ 29526 w 1905000"/>
                <a:gd name="connsiteY78" fmla="*/ 1152525 h 1866900"/>
                <a:gd name="connsiteX79" fmla="*/ 26669 w 1905000"/>
                <a:gd name="connsiteY79" fmla="*/ 1143000 h 1866900"/>
                <a:gd name="connsiteX80" fmla="*/ 16192 w 1905000"/>
                <a:gd name="connsiteY80" fmla="*/ 1095375 h 1866900"/>
                <a:gd name="connsiteX81" fmla="*/ 1888807 w 1905000"/>
                <a:gd name="connsiteY81" fmla="*/ 1095375 h 1866900"/>
                <a:gd name="connsiteX82" fmla="*/ 1886902 w 1905000"/>
                <a:gd name="connsiteY82" fmla="*/ 1104900 h 1866900"/>
                <a:gd name="connsiteX83" fmla="*/ 18097 w 1905000"/>
                <a:gd name="connsiteY83" fmla="*/ 1104900 h 1866900"/>
                <a:gd name="connsiteX84" fmla="*/ 16192 w 1905000"/>
                <a:gd name="connsiteY84" fmla="*/ 1095375 h 1866900"/>
                <a:gd name="connsiteX85" fmla="*/ 8572 w 1905000"/>
                <a:gd name="connsiteY85" fmla="*/ 1047750 h 1866900"/>
                <a:gd name="connsiteX86" fmla="*/ 1896427 w 1905000"/>
                <a:gd name="connsiteY86" fmla="*/ 1047750 h 1866900"/>
                <a:gd name="connsiteX87" fmla="*/ 1895475 w 1905000"/>
                <a:gd name="connsiteY87" fmla="*/ 1057275 h 1866900"/>
                <a:gd name="connsiteX88" fmla="*/ 9525 w 1905000"/>
                <a:gd name="connsiteY88" fmla="*/ 1057275 h 1866900"/>
                <a:gd name="connsiteX89" fmla="*/ 8572 w 1905000"/>
                <a:gd name="connsiteY89" fmla="*/ 1047750 h 1866900"/>
                <a:gd name="connsiteX90" fmla="*/ 3810 w 1905000"/>
                <a:gd name="connsiteY90" fmla="*/ 1000125 h 1866900"/>
                <a:gd name="connsiteX91" fmla="*/ 1902143 w 1905000"/>
                <a:gd name="connsiteY91" fmla="*/ 1000125 h 1866900"/>
                <a:gd name="connsiteX92" fmla="*/ 1901190 w 1905000"/>
                <a:gd name="connsiteY92" fmla="*/ 1009650 h 1866900"/>
                <a:gd name="connsiteX93" fmla="*/ 4762 w 1905000"/>
                <a:gd name="connsiteY93" fmla="*/ 1009650 h 1866900"/>
                <a:gd name="connsiteX94" fmla="*/ 3810 w 1905000"/>
                <a:gd name="connsiteY94" fmla="*/ 1000125 h 1866900"/>
                <a:gd name="connsiteX95" fmla="*/ 952 w 1905000"/>
                <a:gd name="connsiteY95" fmla="*/ 952500 h 1866900"/>
                <a:gd name="connsiteX96" fmla="*/ 1904047 w 1905000"/>
                <a:gd name="connsiteY96" fmla="*/ 952500 h 1866900"/>
                <a:gd name="connsiteX97" fmla="*/ 1904047 w 1905000"/>
                <a:gd name="connsiteY97" fmla="*/ 962025 h 1866900"/>
                <a:gd name="connsiteX98" fmla="*/ 952 w 1905000"/>
                <a:gd name="connsiteY98" fmla="*/ 962025 h 1866900"/>
                <a:gd name="connsiteX99" fmla="*/ 952 w 1905000"/>
                <a:gd name="connsiteY99" fmla="*/ 952500 h 1866900"/>
                <a:gd name="connsiteX100" fmla="*/ 0 w 1905000"/>
                <a:gd name="connsiteY100" fmla="*/ 904875 h 1866900"/>
                <a:gd name="connsiteX101" fmla="*/ 1905000 w 1905000"/>
                <a:gd name="connsiteY101" fmla="*/ 904875 h 1866900"/>
                <a:gd name="connsiteX102" fmla="*/ 1905000 w 1905000"/>
                <a:gd name="connsiteY102" fmla="*/ 914400 h 1866900"/>
                <a:gd name="connsiteX103" fmla="*/ 0 w 1905000"/>
                <a:gd name="connsiteY103" fmla="*/ 914400 h 1866900"/>
                <a:gd name="connsiteX104" fmla="*/ 0 w 1905000"/>
                <a:gd name="connsiteY104" fmla="*/ 904875 h 1866900"/>
                <a:gd name="connsiteX105" fmla="*/ 1905 w 1905000"/>
                <a:gd name="connsiteY105" fmla="*/ 857250 h 1866900"/>
                <a:gd name="connsiteX106" fmla="*/ 1902142 w 1905000"/>
                <a:gd name="connsiteY106" fmla="*/ 857250 h 1866900"/>
                <a:gd name="connsiteX107" fmla="*/ 1903095 w 1905000"/>
                <a:gd name="connsiteY107" fmla="*/ 866775 h 1866900"/>
                <a:gd name="connsiteX108" fmla="*/ 952 w 1905000"/>
                <a:gd name="connsiteY108" fmla="*/ 866775 h 1866900"/>
                <a:gd name="connsiteX109" fmla="*/ 1905 w 1905000"/>
                <a:gd name="connsiteY109" fmla="*/ 857250 h 1866900"/>
                <a:gd name="connsiteX110" fmla="*/ 6667 w 1905000"/>
                <a:gd name="connsiteY110" fmla="*/ 809625 h 1866900"/>
                <a:gd name="connsiteX111" fmla="*/ 1899285 w 1905000"/>
                <a:gd name="connsiteY111" fmla="*/ 809625 h 1866900"/>
                <a:gd name="connsiteX112" fmla="*/ 1900238 w 1905000"/>
                <a:gd name="connsiteY112" fmla="*/ 819150 h 1866900"/>
                <a:gd name="connsiteX113" fmla="*/ 5715 w 1905000"/>
                <a:gd name="connsiteY113" fmla="*/ 819150 h 1866900"/>
                <a:gd name="connsiteX114" fmla="*/ 6667 w 1905000"/>
                <a:gd name="connsiteY114" fmla="*/ 809625 h 1866900"/>
                <a:gd name="connsiteX115" fmla="*/ 13335 w 1905000"/>
                <a:gd name="connsiteY115" fmla="*/ 762000 h 1866900"/>
                <a:gd name="connsiteX116" fmla="*/ 1891665 w 1905000"/>
                <a:gd name="connsiteY116" fmla="*/ 762000 h 1866900"/>
                <a:gd name="connsiteX117" fmla="*/ 1893570 w 1905000"/>
                <a:gd name="connsiteY117" fmla="*/ 771525 h 1866900"/>
                <a:gd name="connsiteX118" fmla="*/ 11430 w 1905000"/>
                <a:gd name="connsiteY118" fmla="*/ 771525 h 1866900"/>
                <a:gd name="connsiteX119" fmla="*/ 13335 w 1905000"/>
                <a:gd name="connsiteY119" fmla="*/ 762000 h 1866900"/>
                <a:gd name="connsiteX120" fmla="*/ 21907 w 1905000"/>
                <a:gd name="connsiteY120" fmla="*/ 714375 h 1866900"/>
                <a:gd name="connsiteX121" fmla="*/ 1883092 w 1905000"/>
                <a:gd name="connsiteY121" fmla="*/ 714375 h 1866900"/>
                <a:gd name="connsiteX122" fmla="*/ 1884997 w 1905000"/>
                <a:gd name="connsiteY122" fmla="*/ 723900 h 1866900"/>
                <a:gd name="connsiteX123" fmla="*/ 20002 w 1905000"/>
                <a:gd name="connsiteY123" fmla="*/ 723900 h 1866900"/>
                <a:gd name="connsiteX124" fmla="*/ 21907 w 1905000"/>
                <a:gd name="connsiteY124" fmla="*/ 714375 h 1866900"/>
                <a:gd name="connsiteX125" fmla="*/ 34289 w 1905000"/>
                <a:gd name="connsiteY125" fmla="*/ 666750 h 1866900"/>
                <a:gd name="connsiteX126" fmla="*/ 1870710 w 1905000"/>
                <a:gd name="connsiteY126" fmla="*/ 666750 h 1866900"/>
                <a:gd name="connsiteX127" fmla="*/ 1873567 w 1905000"/>
                <a:gd name="connsiteY127" fmla="*/ 676275 h 1866900"/>
                <a:gd name="connsiteX128" fmla="*/ 31432 w 1905000"/>
                <a:gd name="connsiteY128" fmla="*/ 676275 h 1866900"/>
                <a:gd name="connsiteX129" fmla="*/ 34289 w 1905000"/>
                <a:gd name="connsiteY129" fmla="*/ 666750 h 1866900"/>
                <a:gd name="connsiteX130" fmla="*/ 48577 w 1905000"/>
                <a:gd name="connsiteY130" fmla="*/ 619125 h 1866900"/>
                <a:gd name="connsiteX131" fmla="*/ 1857375 w 1905000"/>
                <a:gd name="connsiteY131" fmla="*/ 619125 h 1866900"/>
                <a:gd name="connsiteX132" fmla="*/ 1860233 w 1905000"/>
                <a:gd name="connsiteY132" fmla="*/ 628650 h 1866900"/>
                <a:gd name="connsiteX133" fmla="*/ 45720 w 1905000"/>
                <a:gd name="connsiteY133" fmla="*/ 628650 h 1866900"/>
                <a:gd name="connsiteX134" fmla="*/ 48577 w 1905000"/>
                <a:gd name="connsiteY134" fmla="*/ 619125 h 1866900"/>
                <a:gd name="connsiteX135" fmla="*/ 65722 w 1905000"/>
                <a:gd name="connsiteY135" fmla="*/ 571500 h 1866900"/>
                <a:gd name="connsiteX136" fmla="*/ 1839277 w 1905000"/>
                <a:gd name="connsiteY136" fmla="*/ 571500 h 1866900"/>
                <a:gd name="connsiteX137" fmla="*/ 1843087 w 1905000"/>
                <a:gd name="connsiteY137" fmla="*/ 581025 h 1866900"/>
                <a:gd name="connsiteX138" fmla="*/ 61912 w 1905000"/>
                <a:gd name="connsiteY138" fmla="*/ 581025 h 1866900"/>
                <a:gd name="connsiteX139" fmla="*/ 65722 w 1905000"/>
                <a:gd name="connsiteY139" fmla="*/ 571500 h 1866900"/>
                <a:gd name="connsiteX140" fmla="*/ 85725 w 1905000"/>
                <a:gd name="connsiteY140" fmla="*/ 523875 h 1866900"/>
                <a:gd name="connsiteX141" fmla="*/ 1819275 w 1905000"/>
                <a:gd name="connsiteY141" fmla="*/ 523875 h 1866900"/>
                <a:gd name="connsiteX142" fmla="*/ 1823085 w 1905000"/>
                <a:gd name="connsiteY142" fmla="*/ 533400 h 1866900"/>
                <a:gd name="connsiteX143" fmla="*/ 80962 w 1905000"/>
                <a:gd name="connsiteY143" fmla="*/ 533400 h 1866900"/>
                <a:gd name="connsiteX144" fmla="*/ 85725 w 1905000"/>
                <a:gd name="connsiteY144" fmla="*/ 523875 h 1866900"/>
                <a:gd name="connsiteX145" fmla="*/ 109538 w 1905000"/>
                <a:gd name="connsiteY145" fmla="*/ 476250 h 1866900"/>
                <a:gd name="connsiteX146" fmla="*/ 1796415 w 1905000"/>
                <a:gd name="connsiteY146" fmla="*/ 476250 h 1866900"/>
                <a:gd name="connsiteX147" fmla="*/ 1801178 w 1905000"/>
                <a:gd name="connsiteY147" fmla="*/ 485775 h 1866900"/>
                <a:gd name="connsiteX148" fmla="*/ 104775 w 1905000"/>
                <a:gd name="connsiteY148" fmla="*/ 485775 h 1866900"/>
                <a:gd name="connsiteX149" fmla="*/ 109538 w 1905000"/>
                <a:gd name="connsiteY149" fmla="*/ 476250 h 1866900"/>
                <a:gd name="connsiteX150" fmla="*/ 136207 w 1905000"/>
                <a:gd name="connsiteY150" fmla="*/ 428625 h 1866900"/>
                <a:gd name="connsiteX151" fmla="*/ 1768792 w 1905000"/>
                <a:gd name="connsiteY151" fmla="*/ 428625 h 1866900"/>
                <a:gd name="connsiteX152" fmla="*/ 1774507 w 1905000"/>
                <a:gd name="connsiteY152" fmla="*/ 438150 h 1866900"/>
                <a:gd name="connsiteX153" fmla="*/ 130492 w 1905000"/>
                <a:gd name="connsiteY153" fmla="*/ 438150 h 1866900"/>
                <a:gd name="connsiteX154" fmla="*/ 136207 w 1905000"/>
                <a:gd name="connsiteY154" fmla="*/ 428625 h 1866900"/>
                <a:gd name="connsiteX155" fmla="*/ 166687 w 1905000"/>
                <a:gd name="connsiteY155" fmla="*/ 381000 h 1866900"/>
                <a:gd name="connsiteX156" fmla="*/ 1738312 w 1905000"/>
                <a:gd name="connsiteY156" fmla="*/ 381000 h 1866900"/>
                <a:gd name="connsiteX157" fmla="*/ 1744979 w 1905000"/>
                <a:gd name="connsiteY157" fmla="*/ 390525 h 1866900"/>
                <a:gd name="connsiteX158" fmla="*/ 160019 w 1905000"/>
                <a:gd name="connsiteY158" fmla="*/ 390525 h 1866900"/>
                <a:gd name="connsiteX159" fmla="*/ 166687 w 1905000"/>
                <a:gd name="connsiteY159" fmla="*/ 381000 h 1866900"/>
                <a:gd name="connsiteX160" fmla="*/ 201929 w 1905000"/>
                <a:gd name="connsiteY160" fmla="*/ 333375 h 1866900"/>
                <a:gd name="connsiteX161" fmla="*/ 1704022 w 1905000"/>
                <a:gd name="connsiteY161" fmla="*/ 333375 h 1866900"/>
                <a:gd name="connsiteX162" fmla="*/ 1711642 w 1905000"/>
                <a:gd name="connsiteY162" fmla="*/ 342900 h 1866900"/>
                <a:gd name="connsiteX163" fmla="*/ 194309 w 1905000"/>
                <a:gd name="connsiteY163" fmla="*/ 342900 h 1866900"/>
                <a:gd name="connsiteX164" fmla="*/ 201929 w 1905000"/>
                <a:gd name="connsiteY164" fmla="*/ 333375 h 1866900"/>
                <a:gd name="connsiteX165" fmla="*/ 240981 w 1905000"/>
                <a:gd name="connsiteY165" fmla="*/ 285750 h 1866900"/>
                <a:gd name="connsiteX166" fmla="*/ 1664017 w 1905000"/>
                <a:gd name="connsiteY166" fmla="*/ 285750 h 1866900"/>
                <a:gd name="connsiteX167" fmla="*/ 1672589 w 1905000"/>
                <a:gd name="connsiteY167" fmla="*/ 295275 h 1866900"/>
                <a:gd name="connsiteX168" fmla="*/ 232409 w 1905000"/>
                <a:gd name="connsiteY168" fmla="*/ 295275 h 1866900"/>
                <a:gd name="connsiteX169" fmla="*/ 240981 w 1905000"/>
                <a:gd name="connsiteY169" fmla="*/ 285750 h 1866900"/>
                <a:gd name="connsiteX170" fmla="*/ 286702 w 1905000"/>
                <a:gd name="connsiteY170" fmla="*/ 238125 h 1866900"/>
                <a:gd name="connsiteX171" fmla="*/ 1619250 w 1905000"/>
                <a:gd name="connsiteY171" fmla="*/ 238125 h 1866900"/>
                <a:gd name="connsiteX172" fmla="*/ 1628775 w 1905000"/>
                <a:gd name="connsiteY172" fmla="*/ 247650 h 1866900"/>
                <a:gd name="connsiteX173" fmla="*/ 277177 w 1905000"/>
                <a:gd name="connsiteY173" fmla="*/ 247650 h 1866900"/>
                <a:gd name="connsiteX174" fmla="*/ 286702 w 1905000"/>
                <a:gd name="connsiteY174" fmla="*/ 238125 h 1866900"/>
                <a:gd name="connsiteX175" fmla="*/ 339090 w 1905000"/>
                <a:gd name="connsiteY175" fmla="*/ 190500 h 1866900"/>
                <a:gd name="connsiteX176" fmla="*/ 1565910 w 1905000"/>
                <a:gd name="connsiteY176" fmla="*/ 190500 h 1866900"/>
                <a:gd name="connsiteX177" fmla="*/ 1577340 w 1905000"/>
                <a:gd name="connsiteY177" fmla="*/ 200025 h 1866900"/>
                <a:gd name="connsiteX178" fmla="*/ 327660 w 1905000"/>
                <a:gd name="connsiteY178" fmla="*/ 200025 h 1866900"/>
                <a:gd name="connsiteX179" fmla="*/ 339090 w 1905000"/>
                <a:gd name="connsiteY179" fmla="*/ 190500 h 1866900"/>
                <a:gd name="connsiteX180" fmla="*/ 400049 w 1905000"/>
                <a:gd name="connsiteY180" fmla="*/ 142875 h 1866900"/>
                <a:gd name="connsiteX181" fmla="*/ 1503997 w 1905000"/>
                <a:gd name="connsiteY181" fmla="*/ 142875 h 1866900"/>
                <a:gd name="connsiteX182" fmla="*/ 1517332 w 1905000"/>
                <a:gd name="connsiteY182" fmla="*/ 152400 h 1866900"/>
                <a:gd name="connsiteX183" fmla="*/ 386714 w 1905000"/>
                <a:gd name="connsiteY183" fmla="*/ 152400 h 1866900"/>
                <a:gd name="connsiteX184" fmla="*/ 400049 w 1905000"/>
                <a:gd name="connsiteY184" fmla="*/ 142875 h 1866900"/>
                <a:gd name="connsiteX185" fmla="*/ 474345 w 1905000"/>
                <a:gd name="connsiteY185" fmla="*/ 95250 h 1866900"/>
                <a:gd name="connsiteX186" fmla="*/ 1429702 w 1905000"/>
                <a:gd name="connsiteY186" fmla="*/ 95250 h 1866900"/>
                <a:gd name="connsiteX187" fmla="*/ 1445895 w 1905000"/>
                <a:gd name="connsiteY187" fmla="*/ 104775 h 1866900"/>
                <a:gd name="connsiteX188" fmla="*/ 458152 w 1905000"/>
                <a:gd name="connsiteY188" fmla="*/ 104775 h 1866900"/>
                <a:gd name="connsiteX189" fmla="*/ 474345 w 1905000"/>
                <a:gd name="connsiteY189" fmla="*/ 95250 h 1866900"/>
                <a:gd name="connsiteX190" fmla="*/ 568642 w 1905000"/>
                <a:gd name="connsiteY190" fmla="*/ 47625 h 1866900"/>
                <a:gd name="connsiteX191" fmla="*/ 1337309 w 1905000"/>
                <a:gd name="connsiteY191" fmla="*/ 47625 h 1866900"/>
                <a:gd name="connsiteX192" fmla="*/ 1358265 w 1905000"/>
                <a:gd name="connsiteY192" fmla="*/ 57150 h 1866900"/>
                <a:gd name="connsiteX193" fmla="*/ 547687 w 1905000"/>
                <a:gd name="connsiteY193" fmla="*/ 57150 h 1866900"/>
                <a:gd name="connsiteX194" fmla="*/ 568642 w 1905000"/>
                <a:gd name="connsiteY194" fmla="*/ 47625 h 1866900"/>
                <a:gd name="connsiteX195" fmla="*/ 702945 w 1905000"/>
                <a:gd name="connsiteY195" fmla="*/ 0 h 1866900"/>
                <a:gd name="connsiteX196" fmla="*/ 1203960 w 1905000"/>
                <a:gd name="connsiteY196" fmla="*/ 0 h 1866900"/>
                <a:gd name="connsiteX197" fmla="*/ 1236345 w 1905000"/>
                <a:gd name="connsiteY197" fmla="*/ 9525 h 1866900"/>
                <a:gd name="connsiteX198" fmla="*/ 670560 w 1905000"/>
                <a:gd name="connsiteY198" fmla="*/ 9525 h 1866900"/>
                <a:gd name="connsiteX199" fmla="*/ 702945 w 1905000"/>
                <a:gd name="connsiteY199" fmla="*/ 0 h 186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905000" h="1866900">
                  <a:moveTo>
                    <a:pt x="786764" y="1857375"/>
                  </a:moveTo>
                  <a:lnTo>
                    <a:pt x="1116329" y="1857375"/>
                  </a:lnTo>
                  <a:cubicBezTo>
                    <a:pt x="1093469" y="1861185"/>
                    <a:pt x="1070609" y="1864995"/>
                    <a:pt x="1047749" y="1866900"/>
                  </a:cubicBezTo>
                  <a:lnTo>
                    <a:pt x="855344" y="1866900"/>
                  </a:lnTo>
                  <a:cubicBezTo>
                    <a:pt x="832484" y="1864995"/>
                    <a:pt x="809624" y="1861185"/>
                    <a:pt x="786764" y="1857375"/>
                  </a:cubicBezTo>
                  <a:close/>
                  <a:moveTo>
                    <a:pt x="614362" y="1809750"/>
                  </a:moveTo>
                  <a:lnTo>
                    <a:pt x="1290637" y="1809750"/>
                  </a:lnTo>
                  <a:cubicBezTo>
                    <a:pt x="1281112" y="1812608"/>
                    <a:pt x="1272540" y="1816417"/>
                    <a:pt x="1263967" y="1819275"/>
                  </a:cubicBezTo>
                  <a:lnTo>
                    <a:pt x="640079" y="1819275"/>
                  </a:lnTo>
                  <a:cubicBezTo>
                    <a:pt x="631507" y="1816417"/>
                    <a:pt x="622935" y="1812608"/>
                    <a:pt x="614362" y="1809750"/>
                  </a:cubicBezTo>
                  <a:close/>
                  <a:moveTo>
                    <a:pt x="509587" y="1762125"/>
                  </a:moveTo>
                  <a:lnTo>
                    <a:pt x="1396365" y="1762125"/>
                  </a:lnTo>
                  <a:cubicBezTo>
                    <a:pt x="1389697" y="1764983"/>
                    <a:pt x="1383982" y="1768792"/>
                    <a:pt x="1377315" y="1771650"/>
                  </a:cubicBezTo>
                  <a:lnTo>
                    <a:pt x="527685" y="1771650"/>
                  </a:lnTo>
                  <a:cubicBezTo>
                    <a:pt x="521969" y="1768792"/>
                    <a:pt x="515302" y="1764983"/>
                    <a:pt x="509587" y="1762125"/>
                  </a:cubicBezTo>
                  <a:close/>
                  <a:moveTo>
                    <a:pt x="428625" y="1714500"/>
                  </a:moveTo>
                  <a:lnTo>
                    <a:pt x="1478280" y="1714500"/>
                  </a:lnTo>
                  <a:cubicBezTo>
                    <a:pt x="1472565" y="1717358"/>
                    <a:pt x="1467803" y="1721167"/>
                    <a:pt x="1463040" y="1724025"/>
                  </a:cubicBezTo>
                  <a:lnTo>
                    <a:pt x="443865" y="1724025"/>
                  </a:lnTo>
                  <a:cubicBezTo>
                    <a:pt x="438150" y="1721167"/>
                    <a:pt x="433388" y="1717358"/>
                    <a:pt x="428625" y="1714500"/>
                  </a:cubicBezTo>
                  <a:close/>
                  <a:moveTo>
                    <a:pt x="362902" y="1666875"/>
                  </a:moveTo>
                  <a:lnTo>
                    <a:pt x="1544002" y="1666875"/>
                  </a:lnTo>
                  <a:cubicBezTo>
                    <a:pt x="1540192" y="1669733"/>
                    <a:pt x="1535430" y="1673542"/>
                    <a:pt x="1531620" y="1676400"/>
                  </a:cubicBezTo>
                  <a:lnTo>
                    <a:pt x="375285" y="1676400"/>
                  </a:lnTo>
                  <a:cubicBezTo>
                    <a:pt x="370522" y="1673542"/>
                    <a:pt x="366712" y="1669733"/>
                    <a:pt x="362902" y="1666875"/>
                  </a:cubicBezTo>
                  <a:close/>
                  <a:moveTo>
                    <a:pt x="306705" y="1619250"/>
                  </a:moveTo>
                  <a:lnTo>
                    <a:pt x="1599247" y="1619250"/>
                  </a:lnTo>
                  <a:cubicBezTo>
                    <a:pt x="1595438" y="1622108"/>
                    <a:pt x="1592580" y="1625917"/>
                    <a:pt x="1588770" y="1628775"/>
                  </a:cubicBezTo>
                  <a:lnTo>
                    <a:pt x="317182" y="1628775"/>
                  </a:lnTo>
                  <a:cubicBezTo>
                    <a:pt x="313373" y="1625917"/>
                    <a:pt x="310515" y="1622108"/>
                    <a:pt x="306705" y="1619250"/>
                  </a:cubicBezTo>
                  <a:close/>
                  <a:moveTo>
                    <a:pt x="258127" y="1571625"/>
                  </a:moveTo>
                  <a:lnTo>
                    <a:pt x="1646872" y="1571625"/>
                  </a:lnTo>
                  <a:cubicBezTo>
                    <a:pt x="1643062" y="1574483"/>
                    <a:pt x="1640205" y="1578292"/>
                    <a:pt x="1637347" y="1581150"/>
                  </a:cubicBezTo>
                  <a:lnTo>
                    <a:pt x="266699" y="1581150"/>
                  </a:lnTo>
                  <a:cubicBezTo>
                    <a:pt x="263842" y="1578292"/>
                    <a:pt x="260984" y="1574483"/>
                    <a:pt x="258127" y="1571625"/>
                  </a:cubicBezTo>
                  <a:close/>
                  <a:moveTo>
                    <a:pt x="216217" y="1524000"/>
                  </a:moveTo>
                  <a:lnTo>
                    <a:pt x="1687830" y="1524000"/>
                  </a:lnTo>
                  <a:cubicBezTo>
                    <a:pt x="1684972" y="1526858"/>
                    <a:pt x="1683067" y="1530667"/>
                    <a:pt x="1680209" y="1533525"/>
                  </a:cubicBezTo>
                  <a:lnTo>
                    <a:pt x="223837" y="1533525"/>
                  </a:lnTo>
                  <a:cubicBezTo>
                    <a:pt x="221932" y="1530667"/>
                    <a:pt x="219074" y="1526858"/>
                    <a:pt x="216217" y="1524000"/>
                  </a:cubicBezTo>
                  <a:close/>
                  <a:moveTo>
                    <a:pt x="180022" y="1476375"/>
                  </a:moveTo>
                  <a:lnTo>
                    <a:pt x="1724977" y="1476375"/>
                  </a:lnTo>
                  <a:cubicBezTo>
                    <a:pt x="1723072" y="1479233"/>
                    <a:pt x="1720215" y="1483042"/>
                    <a:pt x="1718310" y="1485900"/>
                  </a:cubicBezTo>
                  <a:lnTo>
                    <a:pt x="186690" y="1485900"/>
                  </a:lnTo>
                  <a:cubicBezTo>
                    <a:pt x="184785" y="1483042"/>
                    <a:pt x="181927" y="1479233"/>
                    <a:pt x="180022" y="1476375"/>
                  </a:cubicBezTo>
                  <a:close/>
                  <a:moveTo>
                    <a:pt x="147637" y="1428750"/>
                  </a:moveTo>
                  <a:lnTo>
                    <a:pt x="1756410" y="1428750"/>
                  </a:lnTo>
                  <a:cubicBezTo>
                    <a:pt x="1754505" y="1431608"/>
                    <a:pt x="1752600" y="1435417"/>
                    <a:pt x="1750695" y="1438275"/>
                  </a:cubicBezTo>
                  <a:lnTo>
                    <a:pt x="153352" y="1438275"/>
                  </a:lnTo>
                  <a:cubicBezTo>
                    <a:pt x="151447" y="1435417"/>
                    <a:pt x="149542" y="1431608"/>
                    <a:pt x="147637" y="1428750"/>
                  </a:cubicBezTo>
                  <a:close/>
                  <a:moveTo>
                    <a:pt x="119062" y="1381125"/>
                  </a:moveTo>
                  <a:lnTo>
                    <a:pt x="1785937" y="1381125"/>
                  </a:lnTo>
                  <a:cubicBezTo>
                    <a:pt x="1784032" y="1383983"/>
                    <a:pt x="1782127" y="1387792"/>
                    <a:pt x="1780222" y="1390650"/>
                  </a:cubicBezTo>
                  <a:lnTo>
                    <a:pt x="124777" y="1390650"/>
                  </a:lnTo>
                  <a:cubicBezTo>
                    <a:pt x="122872" y="1387792"/>
                    <a:pt x="120967" y="1383983"/>
                    <a:pt x="119062" y="1381125"/>
                  </a:cubicBezTo>
                  <a:close/>
                  <a:moveTo>
                    <a:pt x="95250" y="1333500"/>
                  </a:moveTo>
                  <a:lnTo>
                    <a:pt x="1810703" y="1333500"/>
                  </a:lnTo>
                  <a:cubicBezTo>
                    <a:pt x="1808798" y="1336358"/>
                    <a:pt x="1807845" y="1340167"/>
                    <a:pt x="1805940" y="1343025"/>
                  </a:cubicBezTo>
                  <a:lnTo>
                    <a:pt x="100013" y="1343025"/>
                  </a:lnTo>
                  <a:cubicBezTo>
                    <a:pt x="98108" y="1340167"/>
                    <a:pt x="97155" y="1336358"/>
                    <a:pt x="95250" y="1333500"/>
                  </a:cubicBezTo>
                  <a:close/>
                  <a:moveTo>
                    <a:pt x="73342" y="1285875"/>
                  </a:moveTo>
                  <a:lnTo>
                    <a:pt x="1830705" y="1285875"/>
                  </a:lnTo>
                  <a:cubicBezTo>
                    <a:pt x="1829752" y="1288733"/>
                    <a:pt x="1827847" y="1292542"/>
                    <a:pt x="1826895" y="1295400"/>
                  </a:cubicBezTo>
                  <a:lnTo>
                    <a:pt x="77152" y="1295400"/>
                  </a:lnTo>
                  <a:cubicBezTo>
                    <a:pt x="76200" y="1292542"/>
                    <a:pt x="74295" y="1288733"/>
                    <a:pt x="73342" y="1285875"/>
                  </a:cubicBezTo>
                  <a:close/>
                  <a:moveTo>
                    <a:pt x="55245" y="1238250"/>
                  </a:moveTo>
                  <a:lnTo>
                    <a:pt x="1850708" y="1238250"/>
                  </a:lnTo>
                  <a:cubicBezTo>
                    <a:pt x="1848803" y="1241108"/>
                    <a:pt x="1847850" y="1244917"/>
                    <a:pt x="1846898" y="1247775"/>
                  </a:cubicBezTo>
                  <a:lnTo>
                    <a:pt x="59055" y="1247775"/>
                  </a:lnTo>
                  <a:cubicBezTo>
                    <a:pt x="57150" y="1244917"/>
                    <a:pt x="56197" y="1241108"/>
                    <a:pt x="55245" y="1238250"/>
                  </a:cubicBezTo>
                  <a:close/>
                  <a:moveTo>
                    <a:pt x="40004" y="1190625"/>
                  </a:moveTo>
                  <a:lnTo>
                    <a:pt x="1865947" y="1190625"/>
                  </a:lnTo>
                  <a:cubicBezTo>
                    <a:pt x="1864994" y="1193483"/>
                    <a:pt x="1864042" y="1197292"/>
                    <a:pt x="1863089" y="1200150"/>
                  </a:cubicBezTo>
                  <a:lnTo>
                    <a:pt x="42862" y="1200150"/>
                  </a:lnTo>
                  <a:cubicBezTo>
                    <a:pt x="41909" y="1197292"/>
                    <a:pt x="40957" y="1193483"/>
                    <a:pt x="40004" y="1190625"/>
                  </a:cubicBezTo>
                  <a:close/>
                  <a:moveTo>
                    <a:pt x="26669" y="1143000"/>
                  </a:moveTo>
                  <a:lnTo>
                    <a:pt x="1878329" y="1143000"/>
                  </a:lnTo>
                  <a:cubicBezTo>
                    <a:pt x="1878329" y="1145858"/>
                    <a:pt x="1877377" y="1149667"/>
                    <a:pt x="1876424" y="1152525"/>
                  </a:cubicBezTo>
                  <a:lnTo>
                    <a:pt x="29526" y="1152525"/>
                  </a:lnTo>
                  <a:cubicBezTo>
                    <a:pt x="28574" y="1149667"/>
                    <a:pt x="27622" y="1145858"/>
                    <a:pt x="26669" y="1143000"/>
                  </a:cubicBezTo>
                  <a:close/>
                  <a:moveTo>
                    <a:pt x="16192" y="1095375"/>
                  </a:moveTo>
                  <a:lnTo>
                    <a:pt x="1888807" y="1095375"/>
                  </a:lnTo>
                  <a:cubicBezTo>
                    <a:pt x="1887855" y="1098233"/>
                    <a:pt x="1887855" y="1102042"/>
                    <a:pt x="1886902" y="1104900"/>
                  </a:cubicBezTo>
                  <a:lnTo>
                    <a:pt x="18097" y="1104900"/>
                  </a:lnTo>
                  <a:cubicBezTo>
                    <a:pt x="17144" y="1102042"/>
                    <a:pt x="17144" y="1098233"/>
                    <a:pt x="16192" y="1095375"/>
                  </a:cubicBezTo>
                  <a:close/>
                  <a:moveTo>
                    <a:pt x="8572" y="1047750"/>
                  </a:moveTo>
                  <a:lnTo>
                    <a:pt x="1896427" y="1047750"/>
                  </a:lnTo>
                  <a:cubicBezTo>
                    <a:pt x="1896427" y="1050608"/>
                    <a:pt x="1895475" y="1054417"/>
                    <a:pt x="1895475" y="1057275"/>
                  </a:cubicBezTo>
                  <a:lnTo>
                    <a:pt x="9525" y="1057275"/>
                  </a:lnTo>
                  <a:cubicBezTo>
                    <a:pt x="9525" y="1054417"/>
                    <a:pt x="8572" y="1050608"/>
                    <a:pt x="8572" y="1047750"/>
                  </a:cubicBezTo>
                  <a:close/>
                  <a:moveTo>
                    <a:pt x="3810" y="1000125"/>
                  </a:moveTo>
                  <a:lnTo>
                    <a:pt x="1902143" y="1000125"/>
                  </a:lnTo>
                  <a:cubicBezTo>
                    <a:pt x="1902143" y="1002983"/>
                    <a:pt x="1901190" y="1006792"/>
                    <a:pt x="1901190" y="1009650"/>
                  </a:cubicBezTo>
                  <a:lnTo>
                    <a:pt x="4762" y="1009650"/>
                  </a:lnTo>
                  <a:cubicBezTo>
                    <a:pt x="4762" y="1006792"/>
                    <a:pt x="3810" y="1002983"/>
                    <a:pt x="3810" y="1000125"/>
                  </a:cubicBezTo>
                  <a:close/>
                  <a:moveTo>
                    <a:pt x="952" y="952500"/>
                  </a:moveTo>
                  <a:lnTo>
                    <a:pt x="1904047" y="952500"/>
                  </a:lnTo>
                  <a:cubicBezTo>
                    <a:pt x="1904047" y="955358"/>
                    <a:pt x="1904047" y="959167"/>
                    <a:pt x="1904047" y="962025"/>
                  </a:cubicBezTo>
                  <a:lnTo>
                    <a:pt x="952" y="962025"/>
                  </a:lnTo>
                  <a:cubicBezTo>
                    <a:pt x="952" y="959167"/>
                    <a:pt x="952" y="955358"/>
                    <a:pt x="952" y="952500"/>
                  </a:cubicBezTo>
                  <a:close/>
                  <a:moveTo>
                    <a:pt x="0" y="904875"/>
                  </a:moveTo>
                  <a:lnTo>
                    <a:pt x="1905000" y="904875"/>
                  </a:lnTo>
                  <a:cubicBezTo>
                    <a:pt x="1905000" y="907733"/>
                    <a:pt x="1905000" y="911542"/>
                    <a:pt x="1905000" y="914400"/>
                  </a:cubicBezTo>
                  <a:lnTo>
                    <a:pt x="0" y="914400"/>
                  </a:lnTo>
                  <a:cubicBezTo>
                    <a:pt x="0" y="911542"/>
                    <a:pt x="0" y="907733"/>
                    <a:pt x="0" y="904875"/>
                  </a:cubicBezTo>
                  <a:close/>
                  <a:moveTo>
                    <a:pt x="1905" y="857250"/>
                  </a:moveTo>
                  <a:lnTo>
                    <a:pt x="1902142" y="857250"/>
                  </a:lnTo>
                  <a:cubicBezTo>
                    <a:pt x="1903095" y="860108"/>
                    <a:pt x="1903095" y="863917"/>
                    <a:pt x="1903095" y="866775"/>
                  </a:cubicBezTo>
                  <a:lnTo>
                    <a:pt x="952" y="866775"/>
                  </a:lnTo>
                  <a:cubicBezTo>
                    <a:pt x="1905" y="863917"/>
                    <a:pt x="1905" y="860108"/>
                    <a:pt x="1905" y="857250"/>
                  </a:cubicBezTo>
                  <a:close/>
                  <a:moveTo>
                    <a:pt x="6667" y="809625"/>
                  </a:moveTo>
                  <a:lnTo>
                    <a:pt x="1899285" y="809625"/>
                  </a:lnTo>
                  <a:cubicBezTo>
                    <a:pt x="1899285" y="812483"/>
                    <a:pt x="1900238" y="816292"/>
                    <a:pt x="1900238" y="819150"/>
                  </a:cubicBezTo>
                  <a:lnTo>
                    <a:pt x="5715" y="819150"/>
                  </a:lnTo>
                  <a:cubicBezTo>
                    <a:pt x="5715" y="816292"/>
                    <a:pt x="6667" y="812483"/>
                    <a:pt x="6667" y="809625"/>
                  </a:cubicBezTo>
                  <a:close/>
                  <a:moveTo>
                    <a:pt x="13335" y="762000"/>
                  </a:moveTo>
                  <a:lnTo>
                    <a:pt x="1891665" y="762000"/>
                  </a:lnTo>
                  <a:cubicBezTo>
                    <a:pt x="1892618" y="764858"/>
                    <a:pt x="1892618" y="768667"/>
                    <a:pt x="1893570" y="771525"/>
                  </a:cubicBezTo>
                  <a:lnTo>
                    <a:pt x="11430" y="771525"/>
                  </a:lnTo>
                  <a:cubicBezTo>
                    <a:pt x="12382" y="768667"/>
                    <a:pt x="12382" y="764858"/>
                    <a:pt x="13335" y="762000"/>
                  </a:cubicBezTo>
                  <a:close/>
                  <a:moveTo>
                    <a:pt x="21907" y="714375"/>
                  </a:moveTo>
                  <a:lnTo>
                    <a:pt x="1883092" y="714375"/>
                  </a:lnTo>
                  <a:cubicBezTo>
                    <a:pt x="1884045" y="717233"/>
                    <a:pt x="1884045" y="721042"/>
                    <a:pt x="1884997" y="723900"/>
                  </a:cubicBezTo>
                  <a:lnTo>
                    <a:pt x="20002" y="723900"/>
                  </a:lnTo>
                  <a:cubicBezTo>
                    <a:pt x="20955" y="721042"/>
                    <a:pt x="20955" y="717233"/>
                    <a:pt x="21907" y="714375"/>
                  </a:cubicBezTo>
                  <a:close/>
                  <a:moveTo>
                    <a:pt x="34289" y="666750"/>
                  </a:moveTo>
                  <a:lnTo>
                    <a:pt x="1870710" y="666750"/>
                  </a:lnTo>
                  <a:cubicBezTo>
                    <a:pt x="1871662" y="669608"/>
                    <a:pt x="1872615" y="673417"/>
                    <a:pt x="1873567" y="676275"/>
                  </a:cubicBezTo>
                  <a:lnTo>
                    <a:pt x="31432" y="676275"/>
                  </a:lnTo>
                  <a:cubicBezTo>
                    <a:pt x="32385" y="673417"/>
                    <a:pt x="33337" y="669608"/>
                    <a:pt x="34289" y="666750"/>
                  </a:cubicBezTo>
                  <a:close/>
                  <a:moveTo>
                    <a:pt x="48577" y="619125"/>
                  </a:moveTo>
                  <a:lnTo>
                    <a:pt x="1857375" y="619125"/>
                  </a:lnTo>
                  <a:cubicBezTo>
                    <a:pt x="1858328" y="621983"/>
                    <a:pt x="1859280" y="625792"/>
                    <a:pt x="1860233" y="628650"/>
                  </a:cubicBezTo>
                  <a:lnTo>
                    <a:pt x="45720" y="628650"/>
                  </a:lnTo>
                  <a:cubicBezTo>
                    <a:pt x="46672" y="625792"/>
                    <a:pt x="47625" y="621983"/>
                    <a:pt x="48577" y="619125"/>
                  </a:cubicBezTo>
                  <a:close/>
                  <a:moveTo>
                    <a:pt x="65722" y="571500"/>
                  </a:moveTo>
                  <a:lnTo>
                    <a:pt x="1839277" y="571500"/>
                  </a:lnTo>
                  <a:cubicBezTo>
                    <a:pt x="1840230" y="574357"/>
                    <a:pt x="1842135" y="578168"/>
                    <a:pt x="1843087" y="581025"/>
                  </a:cubicBezTo>
                  <a:lnTo>
                    <a:pt x="61912" y="581025"/>
                  </a:lnTo>
                  <a:cubicBezTo>
                    <a:pt x="62864" y="578168"/>
                    <a:pt x="64770" y="574357"/>
                    <a:pt x="65722" y="571500"/>
                  </a:cubicBezTo>
                  <a:close/>
                  <a:moveTo>
                    <a:pt x="85725" y="523875"/>
                  </a:moveTo>
                  <a:lnTo>
                    <a:pt x="1819275" y="523875"/>
                  </a:lnTo>
                  <a:cubicBezTo>
                    <a:pt x="1820227" y="526732"/>
                    <a:pt x="1822132" y="530543"/>
                    <a:pt x="1823085" y="533400"/>
                  </a:cubicBezTo>
                  <a:lnTo>
                    <a:pt x="80962" y="533400"/>
                  </a:lnTo>
                  <a:cubicBezTo>
                    <a:pt x="82867" y="530543"/>
                    <a:pt x="83820" y="526732"/>
                    <a:pt x="85725" y="523875"/>
                  </a:cubicBezTo>
                  <a:close/>
                  <a:moveTo>
                    <a:pt x="109538" y="476250"/>
                  </a:moveTo>
                  <a:lnTo>
                    <a:pt x="1796415" y="476250"/>
                  </a:lnTo>
                  <a:cubicBezTo>
                    <a:pt x="1798320" y="479107"/>
                    <a:pt x="1799273" y="482918"/>
                    <a:pt x="1801178" y="485775"/>
                  </a:cubicBezTo>
                  <a:lnTo>
                    <a:pt x="104775" y="485775"/>
                  </a:lnTo>
                  <a:cubicBezTo>
                    <a:pt x="105728" y="482918"/>
                    <a:pt x="107633" y="479107"/>
                    <a:pt x="109538" y="476250"/>
                  </a:cubicBezTo>
                  <a:close/>
                  <a:moveTo>
                    <a:pt x="136207" y="428625"/>
                  </a:moveTo>
                  <a:lnTo>
                    <a:pt x="1768792" y="428625"/>
                  </a:lnTo>
                  <a:cubicBezTo>
                    <a:pt x="1770697" y="431482"/>
                    <a:pt x="1772602" y="435293"/>
                    <a:pt x="1774507" y="438150"/>
                  </a:cubicBezTo>
                  <a:lnTo>
                    <a:pt x="130492" y="438150"/>
                  </a:lnTo>
                  <a:cubicBezTo>
                    <a:pt x="132397" y="435293"/>
                    <a:pt x="134302" y="431482"/>
                    <a:pt x="136207" y="428625"/>
                  </a:cubicBezTo>
                  <a:close/>
                  <a:moveTo>
                    <a:pt x="166687" y="381000"/>
                  </a:moveTo>
                  <a:lnTo>
                    <a:pt x="1738312" y="381000"/>
                  </a:lnTo>
                  <a:cubicBezTo>
                    <a:pt x="1741169" y="383857"/>
                    <a:pt x="1743074" y="387668"/>
                    <a:pt x="1744979" y="390525"/>
                  </a:cubicBezTo>
                  <a:lnTo>
                    <a:pt x="160019" y="390525"/>
                  </a:lnTo>
                  <a:cubicBezTo>
                    <a:pt x="162877" y="387668"/>
                    <a:pt x="164782" y="383857"/>
                    <a:pt x="166687" y="381000"/>
                  </a:cubicBezTo>
                  <a:close/>
                  <a:moveTo>
                    <a:pt x="201929" y="333375"/>
                  </a:moveTo>
                  <a:lnTo>
                    <a:pt x="1704022" y="333375"/>
                  </a:lnTo>
                  <a:cubicBezTo>
                    <a:pt x="1706879" y="336232"/>
                    <a:pt x="1708784" y="340043"/>
                    <a:pt x="1711642" y="342900"/>
                  </a:cubicBezTo>
                  <a:lnTo>
                    <a:pt x="194309" y="342900"/>
                  </a:lnTo>
                  <a:cubicBezTo>
                    <a:pt x="197167" y="340043"/>
                    <a:pt x="199072" y="336232"/>
                    <a:pt x="201929" y="333375"/>
                  </a:cubicBezTo>
                  <a:close/>
                  <a:moveTo>
                    <a:pt x="240981" y="285750"/>
                  </a:moveTo>
                  <a:lnTo>
                    <a:pt x="1664017" y="285750"/>
                  </a:lnTo>
                  <a:cubicBezTo>
                    <a:pt x="1666874" y="288607"/>
                    <a:pt x="1669732" y="292418"/>
                    <a:pt x="1672589" y="295275"/>
                  </a:cubicBezTo>
                  <a:lnTo>
                    <a:pt x="232409" y="295275"/>
                  </a:lnTo>
                  <a:cubicBezTo>
                    <a:pt x="235267" y="292418"/>
                    <a:pt x="238124" y="288607"/>
                    <a:pt x="240981" y="285750"/>
                  </a:cubicBezTo>
                  <a:close/>
                  <a:moveTo>
                    <a:pt x="286702" y="238125"/>
                  </a:moveTo>
                  <a:lnTo>
                    <a:pt x="1619250" y="238125"/>
                  </a:lnTo>
                  <a:cubicBezTo>
                    <a:pt x="1622107" y="240982"/>
                    <a:pt x="1625917" y="244793"/>
                    <a:pt x="1628775" y="247650"/>
                  </a:cubicBezTo>
                  <a:lnTo>
                    <a:pt x="277177" y="247650"/>
                  </a:lnTo>
                  <a:cubicBezTo>
                    <a:pt x="280034" y="244793"/>
                    <a:pt x="282892" y="240982"/>
                    <a:pt x="286702" y="238125"/>
                  </a:cubicBezTo>
                  <a:close/>
                  <a:moveTo>
                    <a:pt x="339090" y="190500"/>
                  </a:moveTo>
                  <a:lnTo>
                    <a:pt x="1565910" y="190500"/>
                  </a:lnTo>
                  <a:cubicBezTo>
                    <a:pt x="1569720" y="193357"/>
                    <a:pt x="1573530" y="197168"/>
                    <a:pt x="1577340" y="200025"/>
                  </a:cubicBezTo>
                  <a:lnTo>
                    <a:pt x="327660" y="200025"/>
                  </a:lnTo>
                  <a:cubicBezTo>
                    <a:pt x="331470" y="197168"/>
                    <a:pt x="335280" y="193357"/>
                    <a:pt x="339090" y="190500"/>
                  </a:cubicBezTo>
                  <a:close/>
                  <a:moveTo>
                    <a:pt x="400049" y="142875"/>
                  </a:moveTo>
                  <a:lnTo>
                    <a:pt x="1503997" y="142875"/>
                  </a:lnTo>
                  <a:cubicBezTo>
                    <a:pt x="1508759" y="145733"/>
                    <a:pt x="1512569" y="149542"/>
                    <a:pt x="1517332" y="152400"/>
                  </a:cubicBezTo>
                  <a:lnTo>
                    <a:pt x="386714" y="152400"/>
                  </a:lnTo>
                  <a:cubicBezTo>
                    <a:pt x="391477" y="149542"/>
                    <a:pt x="395287" y="145733"/>
                    <a:pt x="400049" y="142875"/>
                  </a:cubicBezTo>
                  <a:close/>
                  <a:moveTo>
                    <a:pt x="474345" y="95250"/>
                  </a:moveTo>
                  <a:lnTo>
                    <a:pt x="1429702" y="95250"/>
                  </a:lnTo>
                  <a:cubicBezTo>
                    <a:pt x="1435417" y="98108"/>
                    <a:pt x="1440180" y="101917"/>
                    <a:pt x="1445895" y="104775"/>
                  </a:cubicBezTo>
                  <a:lnTo>
                    <a:pt x="458152" y="104775"/>
                  </a:lnTo>
                  <a:cubicBezTo>
                    <a:pt x="463867" y="101917"/>
                    <a:pt x="468630" y="98108"/>
                    <a:pt x="474345" y="95250"/>
                  </a:cubicBezTo>
                  <a:close/>
                  <a:moveTo>
                    <a:pt x="568642" y="47625"/>
                  </a:moveTo>
                  <a:lnTo>
                    <a:pt x="1337309" y="47625"/>
                  </a:lnTo>
                  <a:cubicBezTo>
                    <a:pt x="1343977" y="50483"/>
                    <a:pt x="1351597" y="54292"/>
                    <a:pt x="1358265" y="57150"/>
                  </a:cubicBezTo>
                  <a:lnTo>
                    <a:pt x="547687" y="57150"/>
                  </a:lnTo>
                  <a:cubicBezTo>
                    <a:pt x="554355" y="54292"/>
                    <a:pt x="561975" y="50483"/>
                    <a:pt x="568642" y="47625"/>
                  </a:cubicBezTo>
                  <a:close/>
                  <a:moveTo>
                    <a:pt x="702945" y="0"/>
                  </a:moveTo>
                  <a:lnTo>
                    <a:pt x="1203960" y="0"/>
                  </a:lnTo>
                  <a:cubicBezTo>
                    <a:pt x="1214438" y="2858"/>
                    <a:pt x="1225867" y="5715"/>
                    <a:pt x="1236345" y="9525"/>
                  </a:cubicBezTo>
                  <a:lnTo>
                    <a:pt x="670560" y="9525"/>
                  </a:lnTo>
                  <a:cubicBezTo>
                    <a:pt x="681037" y="5715"/>
                    <a:pt x="692467" y="2858"/>
                    <a:pt x="702945" y="0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0" name="任意多边形: 形状 7">
              <a:extLst>
                <a:ext uri="{FF2B5EF4-FFF2-40B4-BE49-F238E27FC236}">
                  <a16:creationId xmlns:a16="http://schemas.microsoft.com/office/drawing/2014/main" id="{B12EC4E2-8D6F-42F4-9502-A731433702A2}"/>
                </a:ext>
              </a:extLst>
            </p:cNvPr>
            <p:cNvSpPr/>
            <p:nvPr/>
          </p:nvSpPr>
          <p:spPr>
            <a:xfrm>
              <a:off x="9421670" y="0"/>
              <a:ext cx="2770331" cy="1398732"/>
            </a:xfrm>
            <a:custGeom>
              <a:avLst/>
              <a:gdLst>
                <a:gd name="connsiteX0" fmla="*/ 685 w 2770331"/>
                <a:gd name="connsiteY0" fmla="*/ 0 h 1398732"/>
                <a:gd name="connsiteX1" fmla="*/ 2769647 w 2770331"/>
                <a:gd name="connsiteY1" fmla="*/ 0 h 1398732"/>
                <a:gd name="connsiteX2" fmla="*/ 2770331 w 2770331"/>
                <a:gd name="connsiteY2" fmla="*/ 13546 h 1398732"/>
                <a:gd name="connsiteX3" fmla="*/ 2770331 w 2770331"/>
                <a:gd name="connsiteY3" fmla="*/ 13586 h 1398732"/>
                <a:gd name="connsiteX4" fmla="*/ 2763181 w 2770331"/>
                <a:gd name="connsiteY4" fmla="*/ 155191 h 1398732"/>
                <a:gd name="connsiteX5" fmla="*/ 1385167 w 2770331"/>
                <a:gd name="connsiteY5" fmla="*/ 1398732 h 1398732"/>
                <a:gd name="connsiteX6" fmla="*/ 0 w 2770331"/>
                <a:gd name="connsiteY6" fmla="*/ 13566 h 1398732"/>
                <a:gd name="connsiteX7" fmla="*/ 685 w 2770331"/>
                <a:gd name="connsiteY7" fmla="*/ 0 h 139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0331" h="1398732">
                  <a:moveTo>
                    <a:pt x="685" y="0"/>
                  </a:moveTo>
                  <a:lnTo>
                    <a:pt x="2769647" y="0"/>
                  </a:lnTo>
                  <a:lnTo>
                    <a:pt x="2770331" y="13546"/>
                  </a:lnTo>
                  <a:lnTo>
                    <a:pt x="2770331" y="13586"/>
                  </a:lnTo>
                  <a:lnTo>
                    <a:pt x="2763181" y="155191"/>
                  </a:lnTo>
                  <a:cubicBezTo>
                    <a:pt x="2692246" y="853670"/>
                    <a:pt x="2102359" y="1398732"/>
                    <a:pt x="1385167" y="1398732"/>
                  </a:cubicBezTo>
                  <a:cubicBezTo>
                    <a:pt x="620160" y="1398732"/>
                    <a:pt x="0" y="778572"/>
                    <a:pt x="0" y="13566"/>
                  </a:cubicBezTo>
                  <a:lnTo>
                    <a:pt x="685" y="0"/>
                  </a:lnTo>
                  <a:close/>
                </a:path>
              </a:pathLst>
            </a:custGeom>
            <a:grpFill/>
            <a:ln w="110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1" name="任意多边形: 形状 8">
              <a:extLst>
                <a:ext uri="{FF2B5EF4-FFF2-40B4-BE49-F238E27FC236}">
                  <a16:creationId xmlns:a16="http://schemas.microsoft.com/office/drawing/2014/main" id="{2D272403-40BD-427A-A3AF-22CDE281BD98}"/>
                </a:ext>
              </a:extLst>
            </p:cNvPr>
            <p:cNvSpPr/>
            <p:nvPr/>
          </p:nvSpPr>
          <p:spPr>
            <a:xfrm>
              <a:off x="5252643" y="3384444"/>
              <a:ext cx="4217150" cy="3473556"/>
            </a:xfrm>
            <a:custGeom>
              <a:avLst/>
              <a:gdLst>
                <a:gd name="connsiteX0" fmla="*/ 2852892 w 4217150"/>
                <a:gd name="connsiteY0" fmla="*/ 466 h 3473556"/>
                <a:gd name="connsiteX1" fmla="*/ 3516107 w 4217150"/>
                <a:gd name="connsiteY1" fmla="*/ 187901 h 3473556"/>
                <a:gd name="connsiteX2" fmla="*/ 4029249 w 4217150"/>
                <a:gd name="connsiteY2" fmla="*/ 2103072 h 3473556"/>
                <a:gd name="connsiteX3" fmla="*/ 3237888 w 4217150"/>
                <a:gd name="connsiteY3" fmla="*/ 3473556 h 3473556"/>
                <a:gd name="connsiteX4" fmla="*/ 0 w 4217150"/>
                <a:gd name="connsiteY4" fmla="*/ 3473556 h 3473556"/>
                <a:gd name="connsiteX5" fmla="*/ 1600936 w 4217150"/>
                <a:gd name="connsiteY5" fmla="*/ 701044 h 3473556"/>
                <a:gd name="connsiteX6" fmla="*/ 2852892 w 4217150"/>
                <a:gd name="connsiteY6" fmla="*/ 466 h 347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7150" h="3473556">
                  <a:moveTo>
                    <a:pt x="2852892" y="466"/>
                  </a:moveTo>
                  <a:cubicBezTo>
                    <a:pt x="3078904" y="6295"/>
                    <a:pt x="3306679" y="66976"/>
                    <a:pt x="3516107" y="187901"/>
                  </a:cubicBezTo>
                  <a:cubicBezTo>
                    <a:pt x="4186277" y="574861"/>
                    <a:pt x="4416209" y="1432902"/>
                    <a:pt x="4029249" y="2103072"/>
                  </a:cubicBezTo>
                  <a:lnTo>
                    <a:pt x="3237888" y="3473556"/>
                  </a:lnTo>
                  <a:lnTo>
                    <a:pt x="0" y="3473556"/>
                  </a:lnTo>
                  <a:lnTo>
                    <a:pt x="1600936" y="701044"/>
                  </a:lnTo>
                  <a:cubicBezTo>
                    <a:pt x="1866971" y="240302"/>
                    <a:pt x="2355666" y="-12359"/>
                    <a:pt x="2852892" y="466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>
                <a:latin typeface="Agency FB" panose="020B0503020202020204" pitchFamily="34" charset="0"/>
              </a:rPr>
              <a:t>Fuentes de Interferencia</a:t>
            </a:r>
            <a:endParaRPr lang="zh-CN" altLang="en-US" sz="4000">
              <a:latin typeface="Agency FB" panose="020B0503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3"/>
          <a:srcRect l="18677" t="21981" r="13710" b="14214"/>
          <a:stretch/>
        </p:blipFill>
        <p:spPr>
          <a:xfrm>
            <a:off x="1460090" y="1420730"/>
            <a:ext cx="8797288" cy="466749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BBA5EDB3-B462-4C27-A116-C9DEE6EB5913}"/>
              </a:ext>
            </a:extLst>
          </p:cNvPr>
          <p:cNvSpPr txBox="1"/>
          <p:nvPr/>
        </p:nvSpPr>
        <p:spPr>
          <a:xfrm>
            <a:off x="4302150" y="193432"/>
            <a:ext cx="39846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4400" b="1">
                <a:latin typeface="Agency FB" panose="020B0503020202020204" pitchFamily="34" charset="0"/>
              </a:rPr>
              <a:t>EJEMPLO</a:t>
            </a:r>
            <a:endParaRPr lang="es-MX" sz="4400" b="1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4EE1A64-3EF6-4987-B2E5-2D1DF00EAB1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286875"/>
            <a:ext cx="10850563" cy="500697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27965" indent="-227965" algn="just"/>
            <a:r>
              <a:rPr lang="es-ES">
                <a:latin typeface="Cambria"/>
                <a:ea typeface="+mn-lt"/>
                <a:cs typeface="+mn-lt"/>
              </a:rPr>
              <a:t>Las emisiones de estas fuentes EMI pueden provenir tanto de fuentes terrestres como extraterrestres (satélites, naves espaciales). Las fuentes de ruido EMI son debidas fundamentalmente a emisores de comunicaciones y navegación (banda comercial, comunicaciones de navegación aérea y radares) y a equipos industriales y de consumo, o incluso las explosiones nucleares, todas ellas debidas al hombre. Pero también hay que tener en cuenta fuentes de interferencia electromagnética externas naturales, tales como rayos, descargas electrostáticas, ruido solar y cósmico entre otros.</a:t>
            </a:r>
            <a:endParaRPr lang="es-ES"/>
          </a:p>
          <a:p>
            <a:pPr marL="227965" indent="-227965" algn="just"/>
            <a:endParaRPr lang="es-ES">
              <a:latin typeface="Cambria"/>
              <a:cs typeface="Arial"/>
            </a:endParaRPr>
          </a:p>
        </p:txBody>
      </p:sp>
      <p:pic>
        <p:nvPicPr>
          <p:cNvPr id="5" name="Imagen 5" descr="Imagen que contiene texto, mapa&#10;&#10;Descripción generada automáticamente">
            <a:extLst>
              <a:ext uri="{FF2B5EF4-FFF2-40B4-BE49-F238E27FC236}">
                <a16:creationId xmlns:a16="http://schemas.microsoft.com/office/drawing/2014/main" id="{54EAD5E7-7BA3-45FE-844E-B0BC262D35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1442" y="2858483"/>
            <a:ext cx="5196213" cy="358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1473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098599" y="2263503"/>
            <a:ext cx="5419185" cy="143544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s-MX" altLang="zh-CN">
                <a:latin typeface="Agency FB" panose="020B0503020202020204" pitchFamily="34" charset="0"/>
                <a:sym typeface="+mn-lt"/>
              </a:rPr>
              <a:t>Interferencia de Radio Frecuencia (RFI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36995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5746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5">
            <a:extLst>
              <a:ext uri="{FF2B5EF4-FFF2-40B4-BE49-F238E27FC236}">
                <a16:creationId xmlns:a16="http://schemas.microsoft.com/office/drawing/2014/main" id="{B20079A2-31CE-44D6-B924-1FF5F075B638}"/>
              </a:ext>
            </a:extLst>
          </p:cNvPr>
          <p:cNvGrpSpPr/>
          <p:nvPr/>
        </p:nvGrpSpPr>
        <p:grpSpPr>
          <a:xfrm>
            <a:off x="5252647" y="0"/>
            <a:ext cx="6939359" cy="6858000"/>
            <a:chOff x="5252643" y="0"/>
            <a:chExt cx="6939358" cy="6858000"/>
          </a:xfrm>
          <a:solidFill>
            <a:srgbClr val="F7F7F7"/>
          </a:solidFill>
        </p:grpSpPr>
        <p:sp>
          <p:nvSpPr>
            <p:cNvPr id="9" name="任意多边形: 形状 6">
              <a:extLst>
                <a:ext uri="{FF2B5EF4-FFF2-40B4-BE49-F238E27FC236}">
                  <a16:creationId xmlns:a16="http://schemas.microsoft.com/office/drawing/2014/main" id="{87027812-39ED-48F2-B846-15AF98F3E812}"/>
                </a:ext>
              </a:extLst>
            </p:cNvPr>
            <p:cNvSpPr>
              <a:spLocks/>
            </p:cNvSpPr>
            <p:nvPr/>
          </p:nvSpPr>
          <p:spPr>
            <a:xfrm rot="19800000">
              <a:off x="7350845" y="2199545"/>
              <a:ext cx="2772000" cy="2772000"/>
            </a:xfrm>
            <a:custGeom>
              <a:avLst/>
              <a:gdLst>
                <a:gd name="connsiteX0" fmla="*/ 786764 w 1905000"/>
                <a:gd name="connsiteY0" fmla="*/ 1857375 h 1866900"/>
                <a:gd name="connsiteX1" fmla="*/ 1116329 w 1905000"/>
                <a:gd name="connsiteY1" fmla="*/ 1857375 h 1866900"/>
                <a:gd name="connsiteX2" fmla="*/ 1047749 w 1905000"/>
                <a:gd name="connsiteY2" fmla="*/ 1866900 h 1866900"/>
                <a:gd name="connsiteX3" fmla="*/ 855344 w 1905000"/>
                <a:gd name="connsiteY3" fmla="*/ 1866900 h 1866900"/>
                <a:gd name="connsiteX4" fmla="*/ 786764 w 1905000"/>
                <a:gd name="connsiteY4" fmla="*/ 1857375 h 1866900"/>
                <a:gd name="connsiteX5" fmla="*/ 614362 w 1905000"/>
                <a:gd name="connsiteY5" fmla="*/ 1809750 h 1866900"/>
                <a:gd name="connsiteX6" fmla="*/ 1290637 w 1905000"/>
                <a:gd name="connsiteY6" fmla="*/ 1809750 h 1866900"/>
                <a:gd name="connsiteX7" fmla="*/ 1263967 w 1905000"/>
                <a:gd name="connsiteY7" fmla="*/ 1819275 h 1866900"/>
                <a:gd name="connsiteX8" fmla="*/ 640079 w 1905000"/>
                <a:gd name="connsiteY8" fmla="*/ 1819275 h 1866900"/>
                <a:gd name="connsiteX9" fmla="*/ 614362 w 1905000"/>
                <a:gd name="connsiteY9" fmla="*/ 1809750 h 1866900"/>
                <a:gd name="connsiteX10" fmla="*/ 509587 w 1905000"/>
                <a:gd name="connsiteY10" fmla="*/ 1762125 h 1866900"/>
                <a:gd name="connsiteX11" fmla="*/ 1396365 w 1905000"/>
                <a:gd name="connsiteY11" fmla="*/ 1762125 h 1866900"/>
                <a:gd name="connsiteX12" fmla="*/ 1377315 w 1905000"/>
                <a:gd name="connsiteY12" fmla="*/ 1771650 h 1866900"/>
                <a:gd name="connsiteX13" fmla="*/ 527685 w 1905000"/>
                <a:gd name="connsiteY13" fmla="*/ 1771650 h 1866900"/>
                <a:gd name="connsiteX14" fmla="*/ 509587 w 1905000"/>
                <a:gd name="connsiteY14" fmla="*/ 1762125 h 1866900"/>
                <a:gd name="connsiteX15" fmla="*/ 428625 w 1905000"/>
                <a:gd name="connsiteY15" fmla="*/ 1714500 h 1866900"/>
                <a:gd name="connsiteX16" fmla="*/ 1478280 w 1905000"/>
                <a:gd name="connsiteY16" fmla="*/ 1714500 h 1866900"/>
                <a:gd name="connsiteX17" fmla="*/ 1463040 w 1905000"/>
                <a:gd name="connsiteY17" fmla="*/ 1724025 h 1866900"/>
                <a:gd name="connsiteX18" fmla="*/ 443865 w 1905000"/>
                <a:gd name="connsiteY18" fmla="*/ 1724025 h 1866900"/>
                <a:gd name="connsiteX19" fmla="*/ 428625 w 1905000"/>
                <a:gd name="connsiteY19" fmla="*/ 1714500 h 1866900"/>
                <a:gd name="connsiteX20" fmla="*/ 362902 w 1905000"/>
                <a:gd name="connsiteY20" fmla="*/ 1666875 h 1866900"/>
                <a:gd name="connsiteX21" fmla="*/ 1544002 w 1905000"/>
                <a:gd name="connsiteY21" fmla="*/ 1666875 h 1866900"/>
                <a:gd name="connsiteX22" fmla="*/ 1531620 w 1905000"/>
                <a:gd name="connsiteY22" fmla="*/ 1676400 h 1866900"/>
                <a:gd name="connsiteX23" fmla="*/ 375285 w 1905000"/>
                <a:gd name="connsiteY23" fmla="*/ 1676400 h 1866900"/>
                <a:gd name="connsiteX24" fmla="*/ 362902 w 1905000"/>
                <a:gd name="connsiteY24" fmla="*/ 1666875 h 1866900"/>
                <a:gd name="connsiteX25" fmla="*/ 306705 w 1905000"/>
                <a:gd name="connsiteY25" fmla="*/ 1619250 h 1866900"/>
                <a:gd name="connsiteX26" fmla="*/ 1599247 w 1905000"/>
                <a:gd name="connsiteY26" fmla="*/ 1619250 h 1866900"/>
                <a:gd name="connsiteX27" fmla="*/ 1588770 w 1905000"/>
                <a:gd name="connsiteY27" fmla="*/ 1628775 h 1866900"/>
                <a:gd name="connsiteX28" fmla="*/ 317182 w 1905000"/>
                <a:gd name="connsiteY28" fmla="*/ 1628775 h 1866900"/>
                <a:gd name="connsiteX29" fmla="*/ 306705 w 1905000"/>
                <a:gd name="connsiteY29" fmla="*/ 1619250 h 1866900"/>
                <a:gd name="connsiteX30" fmla="*/ 258127 w 1905000"/>
                <a:gd name="connsiteY30" fmla="*/ 1571625 h 1866900"/>
                <a:gd name="connsiteX31" fmla="*/ 1646872 w 1905000"/>
                <a:gd name="connsiteY31" fmla="*/ 1571625 h 1866900"/>
                <a:gd name="connsiteX32" fmla="*/ 1637347 w 1905000"/>
                <a:gd name="connsiteY32" fmla="*/ 1581150 h 1866900"/>
                <a:gd name="connsiteX33" fmla="*/ 266699 w 1905000"/>
                <a:gd name="connsiteY33" fmla="*/ 1581150 h 1866900"/>
                <a:gd name="connsiteX34" fmla="*/ 258127 w 1905000"/>
                <a:gd name="connsiteY34" fmla="*/ 1571625 h 1866900"/>
                <a:gd name="connsiteX35" fmla="*/ 216217 w 1905000"/>
                <a:gd name="connsiteY35" fmla="*/ 1524000 h 1866900"/>
                <a:gd name="connsiteX36" fmla="*/ 1687830 w 1905000"/>
                <a:gd name="connsiteY36" fmla="*/ 1524000 h 1866900"/>
                <a:gd name="connsiteX37" fmla="*/ 1680209 w 1905000"/>
                <a:gd name="connsiteY37" fmla="*/ 1533525 h 1866900"/>
                <a:gd name="connsiteX38" fmla="*/ 223837 w 1905000"/>
                <a:gd name="connsiteY38" fmla="*/ 1533525 h 1866900"/>
                <a:gd name="connsiteX39" fmla="*/ 216217 w 1905000"/>
                <a:gd name="connsiteY39" fmla="*/ 1524000 h 1866900"/>
                <a:gd name="connsiteX40" fmla="*/ 180022 w 1905000"/>
                <a:gd name="connsiteY40" fmla="*/ 1476375 h 1866900"/>
                <a:gd name="connsiteX41" fmla="*/ 1724977 w 1905000"/>
                <a:gd name="connsiteY41" fmla="*/ 1476375 h 1866900"/>
                <a:gd name="connsiteX42" fmla="*/ 1718310 w 1905000"/>
                <a:gd name="connsiteY42" fmla="*/ 1485900 h 1866900"/>
                <a:gd name="connsiteX43" fmla="*/ 186690 w 1905000"/>
                <a:gd name="connsiteY43" fmla="*/ 1485900 h 1866900"/>
                <a:gd name="connsiteX44" fmla="*/ 180022 w 1905000"/>
                <a:gd name="connsiteY44" fmla="*/ 1476375 h 1866900"/>
                <a:gd name="connsiteX45" fmla="*/ 147637 w 1905000"/>
                <a:gd name="connsiteY45" fmla="*/ 1428750 h 1866900"/>
                <a:gd name="connsiteX46" fmla="*/ 1756410 w 1905000"/>
                <a:gd name="connsiteY46" fmla="*/ 1428750 h 1866900"/>
                <a:gd name="connsiteX47" fmla="*/ 1750695 w 1905000"/>
                <a:gd name="connsiteY47" fmla="*/ 1438275 h 1866900"/>
                <a:gd name="connsiteX48" fmla="*/ 153352 w 1905000"/>
                <a:gd name="connsiteY48" fmla="*/ 1438275 h 1866900"/>
                <a:gd name="connsiteX49" fmla="*/ 147637 w 1905000"/>
                <a:gd name="connsiteY49" fmla="*/ 1428750 h 1866900"/>
                <a:gd name="connsiteX50" fmla="*/ 119062 w 1905000"/>
                <a:gd name="connsiteY50" fmla="*/ 1381125 h 1866900"/>
                <a:gd name="connsiteX51" fmla="*/ 1785937 w 1905000"/>
                <a:gd name="connsiteY51" fmla="*/ 1381125 h 1866900"/>
                <a:gd name="connsiteX52" fmla="*/ 1780222 w 1905000"/>
                <a:gd name="connsiteY52" fmla="*/ 1390650 h 1866900"/>
                <a:gd name="connsiteX53" fmla="*/ 124777 w 1905000"/>
                <a:gd name="connsiteY53" fmla="*/ 1390650 h 1866900"/>
                <a:gd name="connsiteX54" fmla="*/ 119062 w 1905000"/>
                <a:gd name="connsiteY54" fmla="*/ 1381125 h 1866900"/>
                <a:gd name="connsiteX55" fmla="*/ 95250 w 1905000"/>
                <a:gd name="connsiteY55" fmla="*/ 1333500 h 1866900"/>
                <a:gd name="connsiteX56" fmla="*/ 1810703 w 1905000"/>
                <a:gd name="connsiteY56" fmla="*/ 1333500 h 1866900"/>
                <a:gd name="connsiteX57" fmla="*/ 1805940 w 1905000"/>
                <a:gd name="connsiteY57" fmla="*/ 1343025 h 1866900"/>
                <a:gd name="connsiteX58" fmla="*/ 100013 w 1905000"/>
                <a:gd name="connsiteY58" fmla="*/ 1343025 h 1866900"/>
                <a:gd name="connsiteX59" fmla="*/ 95250 w 1905000"/>
                <a:gd name="connsiteY59" fmla="*/ 1333500 h 1866900"/>
                <a:gd name="connsiteX60" fmla="*/ 73342 w 1905000"/>
                <a:gd name="connsiteY60" fmla="*/ 1285875 h 1866900"/>
                <a:gd name="connsiteX61" fmla="*/ 1830705 w 1905000"/>
                <a:gd name="connsiteY61" fmla="*/ 1285875 h 1866900"/>
                <a:gd name="connsiteX62" fmla="*/ 1826895 w 1905000"/>
                <a:gd name="connsiteY62" fmla="*/ 1295400 h 1866900"/>
                <a:gd name="connsiteX63" fmla="*/ 77152 w 1905000"/>
                <a:gd name="connsiteY63" fmla="*/ 1295400 h 1866900"/>
                <a:gd name="connsiteX64" fmla="*/ 73342 w 1905000"/>
                <a:gd name="connsiteY64" fmla="*/ 1285875 h 1866900"/>
                <a:gd name="connsiteX65" fmla="*/ 55245 w 1905000"/>
                <a:gd name="connsiteY65" fmla="*/ 1238250 h 1866900"/>
                <a:gd name="connsiteX66" fmla="*/ 1850708 w 1905000"/>
                <a:gd name="connsiteY66" fmla="*/ 1238250 h 1866900"/>
                <a:gd name="connsiteX67" fmla="*/ 1846898 w 1905000"/>
                <a:gd name="connsiteY67" fmla="*/ 1247775 h 1866900"/>
                <a:gd name="connsiteX68" fmla="*/ 59055 w 1905000"/>
                <a:gd name="connsiteY68" fmla="*/ 1247775 h 1866900"/>
                <a:gd name="connsiteX69" fmla="*/ 55245 w 1905000"/>
                <a:gd name="connsiteY69" fmla="*/ 1238250 h 1866900"/>
                <a:gd name="connsiteX70" fmla="*/ 40004 w 1905000"/>
                <a:gd name="connsiteY70" fmla="*/ 1190625 h 1866900"/>
                <a:gd name="connsiteX71" fmla="*/ 1865947 w 1905000"/>
                <a:gd name="connsiteY71" fmla="*/ 1190625 h 1866900"/>
                <a:gd name="connsiteX72" fmla="*/ 1863089 w 1905000"/>
                <a:gd name="connsiteY72" fmla="*/ 1200150 h 1866900"/>
                <a:gd name="connsiteX73" fmla="*/ 42862 w 1905000"/>
                <a:gd name="connsiteY73" fmla="*/ 1200150 h 1866900"/>
                <a:gd name="connsiteX74" fmla="*/ 40004 w 1905000"/>
                <a:gd name="connsiteY74" fmla="*/ 1190625 h 1866900"/>
                <a:gd name="connsiteX75" fmla="*/ 26669 w 1905000"/>
                <a:gd name="connsiteY75" fmla="*/ 1143000 h 1866900"/>
                <a:gd name="connsiteX76" fmla="*/ 1878329 w 1905000"/>
                <a:gd name="connsiteY76" fmla="*/ 1143000 h 1866900"/>
                <a:gd name="connsiteX77" fmla="*/ 1876424 w 1905000"/>
                <a:gd name="connsiteY77" fmla="*/ 1152525 h 1866900"/>
                <a:gd name="connsiteX78" fmla="*/ 29526 w 1905000"/>
                <a:gd name="connsiteY78" fmla="*/ 1152525 h 1866900"/>
                <a:gd name="connsiteX79" fmla="*/ 26669 w 1905000"/>
                <a:gd name="connsiteY79" fmla="*/ 1143000 h 1866900"/>
                <a:gd name="connsiteX80" fmla="*/ 16192 w 1905000"/>
                <a:gd name="connsiteY80" fmla="*/ 1095375 h 1866900"/>
                <a:gd name="connsiteX81" fmla="*/ 1888807 w 1905000"/>
                <a:gd name="connsiteY81" fmla="*/ 1095375 h 1866900"/>
                <a:gd name="connsiteX82" fmla="*/ 1886902 w 1905000"/>
                <a:gd name="connsiteY82" fmla="*/ 1104900 h 1866900"/>
                <a:gd name="connsiteX83" fmla="*/ 18097 w 1905000"/>
                <a:gd name="connsiteY83" fmla="*/ 1104900 h 1866900"/>
                <a:gd name="connsiteX84" fmla="*/ 16192 w 1905000"/>
                <a:gd name="connsiteY84" fmla="*/ 1095375 h 1866900"/>
                <a:gd name="connsiteX85" fmla="*/ 8572 w 1905000"/>
                <a:gd name="connsiteY85" fmla="*/ 1047750 h 1866900"/>
                <a:gd name="connsiteX86" fmla="*/ 1896427 w 1905000"/>
                <a:gd name="connsiteY86" fmla="*/ 1047750 h 1866900"/>
                <a:gd name="connsiteX87" fmla="*/ 1895475 w 1905000"/>
                <a:gd name="connsiteY87" fmla="*/ 1057275 h 1866900"/>
                <a:gd name="connsiteX88" fmla="*/ 9525 w 1905000"/>
                <a:gd name="connsiteY88" fmla="*/ 1057275 h 1866900"/>
                <a:gd name="connsiteX89" fmla="*/ 8572 w 1905000"/>
                <a:gd name="connsiteY89" fmla="*/ 1047750 h 1866900"/>
                <a:gd name="connsiteX90" fmla="*/ 3810 w 1905000"/>
                <a:gd name="connsiteY90" fmla="*/ 1000125 h 1866900"/>
                <a:gd name="connsiteX91" fmla="*/ 1902143 w 1905000"/>
                <a:gd name="connsiteY91" fmla="*/ 1000125 h 1866900"/>
                <a:gd name="connsiteX92" fmla="*/ 1901190 w 1905000"/>
                <a:gd name="connsiteY92" fmla="*/ 1009650 h 1866900"/>
                <a:gd name="connsiteX93" fmla="*/ 4762 w 1905000"/>
                <a:gd name="connsiteY93" fmla="*/ 1009650 h 1866900"/>
                <a:gd name="connsiteX94" fmla="*/ 3810 w 1905000"/>
                <a:gd name="connsiteY94" fmla="*/ 1000125 h 1866900"/>
                <a:gd name="connsiteX95" fmla="*/ 952 w 1905000"/>
                <a:gd name="connsiteY95" fmla="*/ 952500 h 1866900"/>
                <a:gd name="connsiteX96" fmla="*/ 1904047 w 1905000"/>
                <a:gd name="connsiteY96" fmla="*/ 952500 h 1866900"/>
                <a:gd name="connsiteX97" fmla="*/ 1904047 w 1905000"/>
                <a:gd name="connsiteY97" fmla="*/ 962025 h 1866900"/>
                <a:gd name="connsiteX98" fmla="*/ 952 w 1905000"/>
                <a:gd name="connsiteY98" fmla="*/ 962025 h 1866900"/>
                <a:gd name="connsiteX99" fmla="*/ 952 w 1905000"/>
                <a:gd name="connsiteY99" fmla="*/ 952500 h 1866900"/>
                <a:gd name="connsiteX100" fmla="*/ 0 w 1905000"/>
                <a:gd name="connsiteY100" fmla="*/ 904875 h 1866900"/>
                <a:gd name="connsiteX101" fmla="*/ 1905000 w 1905000"/>
                <a:gd name="connsiteY101" fmla="*/ 904875 h 1866900"/>
                <a:gd name="connsiteX102" fmla="*/ 1905000 w 1905000"/>
                <a:gd name="connsiteY102" fmla="*/ 914400 h 1866900"/>
                <a:gd name="connsiteX103" fmla="*/ 0 w 1905000"/>
                <a:gd name="connsiteY103" fmla="*/ 914400 h 1866900"/>
                <a:gd name="connsiteX104" fmla="*/ 0 w 1905000"/>
                <a:gd name="connsiteY104" fmla="*/ 904875 h 1866900"/>
                <a:gd name="connsiteX105" fmla="*/ 1905 w 1905000"/>
                <a:gd name="connsiteY105" fmla="*/ 857250 h 1866900"/>
                <a:gd name="connsiteX106" fmla="*/ 1902142 w 1905000"/>
                <a:gd name="connsiteY106" fmla="*/ 857250 h 1866900"/>
                <a:gd name="connsiteX107" fmla="*/ 1903095 w 1905000"/>
                <a:gd name="connsiteY107" fmla="*/ 866775 h 1866900"/>
                <a:gd name="connsiteX108" fmla="*/ 952 w 1905000"/>
                <a:gd name="connsiteY108" fmla="*/ 866775 h 1866900"/>
                <a:gd name="connsiteX109" fmla="*/ 1905 w 1905000"/>
                <a:gd name="connsiteY109" fmla="*/ 857250 h 1866900"/>
                <a:gd name="connsiteX110" fmla="*/ 6667 w 1905000"/>
                <a:gd name="connsiteY110" fmla="*/ 809625 h 1866900"/>
                <a:gd name="connsiteX111" fmla="*/ 1899285 w 1905000"/>
                <a:gd name="connsiteY111" fmla="*/ 809625 h 1866900"/>
                <a:gd name="connsiteX112" fmla="*/ 1900238 w 1905000"/>
                <a:gd name="connsiteY112" fmla="*/ 819150 h 1866900"/>
                <a:gd name="connsiteX113" fmla="*/ 5715 w 1905000"/>
                <a:gd name="connsiteY113" fmla="*/ 819150 h 1866900"/>
                <a:gd name="connsiteX114" fmla="*/ 6667 w 1905000"/>
                <a:gd name="connsiteY114" fmla="*/ 809625 h 1866900"/>
                <a:gd name="connsiteX115" fmla="*/ 13335 w 1905000"/>
                <a:gd name="connsiteY115" fmla="*/ 762000 h 1866900"/>
                <a:gd name="connsiteX116" fmla="*/ 1891665 w 1905000"/>
                <a:gd name="connsiteY116" fmla="*/ 762000 h 1866900"/>
                <a:gd name="connsiteX117" fmla="*/ 1893570 w 1905000"/>
                <a:gd name="connsiteY117" fmla="*/ 771525 h 1866900"/>
                <a:gd name="connsiteX118" fmla="*/ 11430 w 1905000"/>
                <a:gd name="connsiteY118" fmla="*/ 771525 h 1866900"/>
                <a:gd name="connsiteX119" fmla="*/ 13335 w 1905000"/>
                <a:gd name="connsiteY119" fmla="*/ 762000 h 1866900"/>
                <a:gd name="connsiteX120" fmla="*/ 21907 w 1905000"/>
                <a:gd name="connsiteY120" fmla="*/ 714375 h 1866900"/>
                <a:gd name="connsiteX121" fmla="*/ 1883092 w 1905000"/>
                <a:gd name="connsiteY121" fmla="*/ 714375 h 1866900"/>
                <a:gd name="connsiteX122" fmla="*/ 1884997 w 1905000"/>
                <a:gd name="connsiteY122" fmla="*/ 723900 h 1866900"/>
                <a:gd name="connsiteX123" fmla="*/ 20002 w 1905000"/>
                <a:gd name="connsiteY123" fmla="*/ 723900 h 1866900"/>
                <a:gd name="connsiteX124" fmla="*/ 21907 w 1905000"/>
                <a:gd name="connsiteY124" fmla="*/ 714375 h 1866900"/>
                <a:gd name="connsiteX125" fmla="*/ 34289 w 1905000"/>
                <a:gd name="connsiteY125" fmla="*/ 666750 h 1866900"/>
                <a:gd name="connsiteX126" fmla="*/ 1870710 w 1905000"/>
                <a:gd name="connsiteY126" fmla="*/ 666750 h 1866900"/>
                <a:gd name="connsiteX127" fmla="*/ 1873567 w 1905000"/>
                <a:gd name="connsiteY127" fmla="*/ 676275 h 1866900"/>
                <a:gd name="connsiteX128" fmla="*/ 31432 w 1905000"/>
                <a:gd name="connsiteY128" fmla="*/ 676275 h 1866900"/>
                <a:gd name="connsiteX129" fmla="*/ 34289 w 1905000"/>
                <a:gd name="connsiteY129" fmla="*/ 666750 h 1866900"/>
                <a:gd name="connsiteX130" fmla="*/ 48577 w 1905000"/>
                <a:gd name="connsiteY130" fmla="*/ 619125 h 1866900"/>
                <a:gd name="connsiteX131" fmla="*/ 1857375 w 1905000"/>
                <a:gd name="connsiteY131" fmla="*/ 619125 h 1866900"/>
                <a:gd name="connsiteX132" fmla="*/ 1860233 w 1905000"/>
                <a:gd name="connsiteY132" fmla="*/ 628650 h 1866900"/>
                <a:gd name="connsiteX133" fmla="*/ 45720 w 1905000"/>
                <a:gd name="connsiteY133" fmla="*/ 628650 h 1866900"/>
                <a:gd name="connsiteX134" fmla="*/ 48577 w 1905000"/>
                <a:gd name="connsiteY134" fmla="*/ 619125 h 1866900"/>
                <a:gd name="connsiteX135" fmla="*/ 65722 w 1905000"/>
                <a:gd name="connsiteY135" fmla="*/ 571500 h 1866900"/>
                <a:gd name="connsiteX136" fmla="*/ 1839277 w 1905000"/>
                <a:gd name="connsiteY136" fmla="*/ 571500 h 1866900"/>
                <a:gd name="connsiteX137" fmla="*/ 1843087 w 1905000"/>
                <a:gd name="connsiteY137" fmla="*/ 581025 h 1866900"/>
                <a:gd name="connsiteX138" fmla="*/ 61912 w 1905000"/>
                <a:gd name="connsiteY138" fmla="*/ 581025 h 1866900"/>
                <a:gd name="connsiteX139" fmla="*/ 65722 w 1905000"/>
                <a:gd name="connsiteY139" fmla="*/ 571500 h 1866900"/>
                <a:gd name="connsiteX140" fmla="*/ 85725 w 1905000"/>
                <a:gd name="connsiteY140" fmla="*/ 523875 h 1866900"/>
                <a:gd name="connsiteX141" fmla="*/ 1819275 w 1905000"/>
                <a:gd name="connsiteY141" fmla="*/ 523875 h 1866900"/>
                <a:gd name="connsiteX142" fmla="*/ 1823085 w 1905000"/>
                <a:gd name="connsiteY142" fmla="*/ 533400 h 1866900"/>
                <a:gd name="connsiteX143" fmla="*/ 80962 w 1905000"/>
                <a:gd name="connsiteY143" fmla="*/ 533400 h 1866900"/>
                <a:gd name="connsiteX144" fmla="*/ 85725 w 1905000"/>
                <a:gd name="connsiteY144" fmla="*/ 523875 h 1866900"/>
                <a:gd name="connsiteX145" fmla="*/ 109538 w 1905000"/>
                <a:gd name="connsiteY145" fmla="*/ 476250 h 1866900"/>
                <a:gd name="connsiteX146" fmla="*/ 1796415 w 1905000"/>
                <a:gd name="connsiteY146" fmla="*/ 476250 h 1866900"/>
                <a:gd name="connsiteX147" fmla="*/ 1801178 w 1905000"/>
                <a:gd name="connsiteY147" fmla="*/ 485775 h 1866900"/>
                <a:gd name="connsiteX148" fmla="*/ 104775 w 1905000"/>
                <a:gd name="connsiteY148" fmla="*/ 485775 h 1866900"/>
                <a:gd name="connsiteX149" fmla="*/ 109538 w 1905000"/>
                <a:gd name="connsiteY149" fmla="*/ 476250 h 1866900"/>
                <a:gd name="connsiteX150" fmla="*/ 136207 w 1905000"/>
                <a:gd name="connsiteY150" fmla="*/ 428625 h 1866900"/>
                <a:gd name="connsiteX151" fmla="*/ 1768792 w 1905000"/>
                <a:gd name="connsiteY151" fmla="*/ 428625 h 1866900"/>
                <a:gd name="connsiteX152" fmla="*/ 1774507 w 1905000"/>
                <a:gd name="connsiteY152" fmla="*/ 438150 h 1866900"/>
                <a:gd name="connsiteX153" fmla="*/ 130492 w 1905000"/>
                <a:gd name="connsiteY153" fmla="*/ 438150 h 1866900"/>
                <a:gd name="connsiteX154" fmla="*/ 136207 w 1905000"/>
                <a:gd name="connsiteY154" fmla="*/ 428625 h 1866900"/>
                <a:gd name="connsiteX155" fmla="*/ 166687 w 1905000"/>
                <a:gd name="connsiteY155" fmla="*/ 381000 h 1866900"/>
                <a:gd name="connsiteX156" fmla="*/ 1738312 w 1905000"/>
                <a:gd name="connsiteY156" fmla="*/ 381000 h 1866900"/>
                <a:gd name="connsiteX157" fmla="*/ 1744979 w 1905000"/>
                <a:gd name="connsiteY157" fmla="*/ 390525 h 1866900"/>
                <a:gd name="connsiteX158" fmla="*/ 160019 w 1905000"/>
                <a:gd name="connsiteY158" fmla="*/ 390525 h 1866900"/>
                <a:gd name="connsiteX159" fmla="*/ 166687 w 1905000"/>
                <a:gd name="connsiteY159" fmla="*/ 381000 h 1866900"/>
                <a:gd name="connsiteX160" fmla="*/ 201929 w 1905000"/>
                <a:gd name="connsiteY160" fmla="*/ 333375 h 1866900"/>
                <a:gd name="connsiteX161" fmla="*/ 1704022 w 1905000"/>
                <a:gd name="connsiteY161" fmla="*/ 333375 h 1866900"/>
                <a:gd name="connsiteX162" fmla="*/ 1711642 w 1905000"/>
                <a:gd name="connsiteY162" fmla="*/ 342900 h 1866900"/>
                <a:gd name="connsiteX163" fmla="*/ 194309 w 1905000"/>
                <a:gd name="connsiteY163" fmla="*/ 342900 h 1866900"/>
                <a:gd name="connsiteX164" fmla="*/ 201929 w 1905000"/>
                <a:gd name="connsiteY164" fmla="*/ 333375 h 1866900"/>
                <a:gd name="connsiteX165" fmla="*/ 240981 w 1905000"/>
                <a:gd name="connsiteY165" fmla="*/ 285750 h 1866900"/>
                <a:gd name="connsiteX166" fmla="*/ 1664017 w 1905000"/>
                <a:gd name="connsiteY166" fmla="*/ 285750 h 1866900"/>
                <a:gd name="connsiteX167" fmla="*/ 1672589 w 1905000"/>
                <a:gd name="connsiteY167" fmla="*/ 295275 h 1866900"/>
                <a:gd name="connsiteX168" fmla="*/ 232409 w 1905000"/>
                <a:gd name="connsiteY168" fmla="*/ 295275 h 1866900"/>
                <a:gd name="connsiteX169" fmla="*/ 240981 w 1905000"/>
                <a:gd name="connsiteY169" fmla="*/ 285750 h 1866900"/>
                <a:gd name="connsiteX170" fmla="*/ 286702 w 1905000"/>
                <a:gd name="connsiteY170" fmla="*/ 238125 h 1866900"/>
                <a:gd name="connsiteX171" fmla="*/ 1619250 w 1905000"/>
                <a:gd name="connsiteY171" fmla="*/ 238125 h 1866900"/>
                <a:gd name="connsiteX172" fmla="*/ 1628775 w 1905000"/>
                <a:gd name="connsiteY172" fmla="*/ 247650 h 1866900"/>
                <a:gd name="connsiteX173" fmla="*/ 277177 w 1905000"/>
                <a:gd name="connsiteY173" fmla="*/ 247650 h 1866900"/>
                <a:gd name="connsiteX174" fmla="*/ 286702 w 1905000"/>
                <a:gd name="connsiteY174" fmla="*/ 238125 h 1866900"/>
                <a:gd name="connsiteX175" fmla="*/ 339090 w 1905000"/>
                <a:gd name="connsiteY175" fmla="*/ 190500 h 1866900"/>
                <a:gd name="connsiteX176" fmla="*/ 1565910 w 1905000"/>
                <a:gd name="connsiteY176" fmla="*/ 190500 h 1866900"/>
                <a:gd name="connsiteX177" fmla="*/ 1577340 w 1905000"/>
                <a:gd name="connsiteY177" fmla="*/ 200025 h 1866900"/>
                <a:gd name="connsiteX178" fmla="*/ 327660 w 1905000"/>
                <a:gd name="connsiteY178" fmla="*/ 200025 h 1866900"/>
                <a:gd name="connsiteX179" fmla="*/ 339090 w 1905000"/>
                <a:gd name="connsiteY179" fmla="*/ 190500 h 1866900"/>
                <a:gd name="connsiteX180" fmla="*/ 400049 w 1905000"/>
                <a:gd name="connsiteY180" fmla="*/ 142875 h 1866900"/>
                <a:gd name="connsiteX181" fmla="*/ 1503997 w 1905000"/>
                <a:gd name="connsiteY181" fmla="*/ 142875 h 1866900"/>
                <a:gd name="connsiteX182" fmla="*/ 1517332 w 1905000"/>
                <a:gd name="connsiteY182" fmla="*/ 152400 h 1866900"/>
                <a:gd name="connsiteX183" fmla="*/ 386714 w 1905000"/>
                <a:gd name="connsiteY183" fmla="*/ 152400 h 1866900"/>
                <a:gd name="connsiteX184" fmla="*/ 400049 w 1905000"/>
                <a:gd name="connsiteY184" fmla="*/ 142875 h 1866900"/>
                <a:gd name="connsiteX185" fmla="*/ 474345 w 1905000"/>
                <a:gd name="connsiteY185" fmla="*/ 95250 h 1866900"/>
                <a:gd name="connsiteX186" fmla="*/ 1429702 w 1905000"/>
                <a:gd name="connsiteY186" fmla="*/ 95250 h 1866900"/>
                <a:gd name="connsiteX187" fmla="*/ 1445895 w 1905000"/>
                <a:gd name="connsiteY187" fmla="*/ 104775 h 1866900"/>
                <a:gd name="connsiteX188" fmla="*/ 458152 w 1905000"/>
                <a:gd name="connsiteY188" fmla="*/ 104775 h 1866900"/>
                <a:gd name="connsiteX189" fmla="*/ 474345 w 1905000"/>
                <a:gd name="connsiteY189" fmla="*/ 95250 h 1866900"/>
                <a:gd name="connsiteX190" fmla="*/ 568642 w 1905000"/>
                <a:gd name="connsiteY190" fmla="*/ 47625 h 1866900"/>
                <a:gd name="connsiteX191" fmla="*/ 1337309 w 1905000"/>
                <a:gd name="connsiteY191" fmla="*/ 47625 h 1866900"/>
                <a:gd name="connsiteX192" fmla="*/ 1358265 w 1905000"/>
                <a:gd name="connsiteY192" fmla="*/ 57150 h 1866900"/>
                <a:gd name="connsiteX193" fmla="*/ 547687 w 1905000"/>
                <a:gd name="connsiteY193" fmla="*/ 57150 h 1866900"/>
                <a:gd name="connsiteX194" fmla="*/ 568642 w 1905000"/>
                <a:gd name="connsiteY194" fmla="*/ 47625 h 1866900"/>
                <a:gd name="connsiteX195" fmla="*/ 702945 w 1905000"/>
                <a:gd name="connsiteY195" fmla="*/ 0 h 1866900"/>
                <a:gd name="connsiteX196" fmla="*/ 1203960 w 1905000"/>
                <a:gd name="connsiteY196" fmla="*/ 0 h 1866900"/>
                <a:gd name="connsiteX197" fmla="*/ 1236345 w 1905000"/>
                <a:gd name="connsiteY197" fmla="*/ 9525 h 1866900"/>
                <a:gd name="connsiteX198" fmla="*/ 670560 w 1905000"/>
                <a:gd name="connsiteY198" fmla="*/ 9525 h 1866900"/>
                <a:gd name="connsiteX199" fmla="*/ 702945 w 1905000"/>
                <a:gd name="connsiteY199" fmla="*/ 0 h 186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1905000" h="1866900">
                  <a:moveTo>
                    <a:pt x="786764" y="1857375"/>
                  </a:moveTo>
                  <a:lnTo>
                    <a:pt x="1116329" y="1857375"/>
                  </a:lnTo>
                  <a:cubicBezTo>
                    <a:pt x="1093469" y="1861185"/>
                    <a:pt x="1070609" y="1864995"/>
                    <a:pt x="1047749" y="1866900"/>
                  </a:cubicBezTo>
                  <a:lnTo>
                    <a:pt x="855344" y="1866900"/>
                  </a:lnTo>
                  <a:cubicBezTo>
                    <a:pt x="832484" y="1864995"/>
                    <a:pt x="809624" y="1861185"/>
                    <a:pt x="786764" y="1857375"/>
                  </a:cubicBezTo>
                  <a:close/>
                  <a:moveTo>
                    <a:pt x="614362" y="1809750"/>
                  </a:moveTo>
                  <a:lnTo>
                    <a:pt x="1290637" y="1809750"/>
                  </a:lnTo>
                  <a:cubicBezTo>
                    <a:pt x="1281112" y="1812608"/>
                    <a:pt x="1272540" y="1816417"/>
                    <a:pt x="1263967" y="1819275"/>
                  </a:cubicBezTo>
                  <a:lnTo>
                    <a:pt x="640079" y="1819275"/>
                  </a:lnTo>
                  <a:cubicBezTo>
                    <a:pt x="631507" y="1816417"/>
                    <a:pt x="622935" y="1812608"/>
                    <a:pt x="614362" y="1809750"/>
                  </a:cubicBezTo>
                  <a:close/>
                  <a:moveTo>
                    <a:pt x="509587" y="1762125"/>
                  </a:moveTo>
                  <a:lnTo>
                    <a:pt x="1396365" y="1762125"/>
                  </a:lnTo>
                  <a:cubicBezTo>
                    <a:pt x="1389697" y="1764983"/>
                    <a:pt x="1383982" y="1768792"/>
                    <a:pt x="1377315" y="1771650"/>
                  </a:cubicBezTo>
                  <a:lnTo>
                    <a:pt x="527685" y="1771650"/>
                  </a:lnTo>
                  <a:cubicBezTo>
                    <a:pt x="521969" y="1768792"/>
                    <a:pt x="515302" y="1764983"/>
                    <a:pt x="509587" y="1762125"/>
                  </a:cubicBezTo>
                  <a:close/>
                  <a:moveTo>
                    <a:pt x="428625" y="1714500"/>
                  </a:moveTo>
                  <a:lnTo>
                    <a:pt x="1478280" y="1714500"/>
                  </a:lnTo>
                  <a:cubicBezTo>
                    <a:pt x="1472565" y="1717358"/>
                    <a:pt x="1467803" y="1721167"/>
                    <a:pt x="1463040" y="1724025"/>
                  </a:cubicBezTo>
                  <a:lnTo>
                    <a:pt x="443865" y="1724025"/>
                  </a:lnTo>
                  <a:cubicBezTo>
                    <a:pt x="438150" y="1721167"/>
                    <a:pt x="433388" y="1717358"/>
                    <a:pt x="428625" y="1714500"/>
                  </a:cubicBezTo>
                  <a:close/>
                  <a:moveTo>
                    <a:pt x="362902" y="1666875"/>
                  </a:moveTo>
                  <a:lnTo>
                    <a:pt x="1544002" y="1666875"/>
                  </a:lnTo>
                  <a:cubicBezTo>
                    <a:pt x="1540192" y="1669733"/>
                    <a:pt x="1535430" y="1673542"/>
                    <a:pt x="1531620" y="1676400"/>
                  </a:cubicBezTo>
                  <a:lnTo>
                    <a:pt x="375285" y="1676400"/>
                  </a:lnTo>
                  <a:cubicBezTo>
                    <a:pt x="370522" y="1673542"/>
                    <a:pt x="366712" y="1669733"/>
                    <a:pt x="362902" y="1666875"/>
                  </a:cubicBezTo>
                  <a:close/>
                  <a:moveTo>
                    <a:pt x="306705" y="1619250"/>
                  </a:moveTo>
                  <a:lnTo>
                    <a:pt x="1599247" y="1619250"/>
                  </a:lnTo>
                  <a:cubicBezTo>
                    <a:pt x="1595438" y="1622108"/>
                    <a:pt x="1592580" y="1625917"/>
                    <a:pt x="1588770" y="1628775"/>
                  </a:cubicBezTo>
                  <a:lnTo>
                    <a:pt x="317182" y="1628775"/>
                  </a:lnTo>
                  <a:cubicBezTo>
                    <a:pt x="313373" y="1625917"/>
                    <a:pt x="310515" y="1622108"/>
                    <a:pt x="306705" y="1619250"/>
                  </a:cubicBezTo>
                  <a:close/>
                  <a:moveTo>
                    <a:pt x="258127" y="1571625"/>
                  </a:moveTo>
                  <a:lnTo>
                    <a:pt x="1646872" y="1571625"/>
                  </a:lnTo>
                  <a:cubicBezTo>
                    <a:pt x="1643062" y="1574483"/>
                    <a:pt x="1640205" y="1578292"/>
                    <a:pt x="1637347" y="1581150"/>
                  </a:cubicBezTo>
                  <a:lnTo>
                    <a:pt x="266699" y="1581150"/>
                  </a:lnTo>
                  <a:cubicBezTo>
                    <a:pt x="263842" y="1578292"/>
                    <a:pt x="260984" y="1574483"/>
                    <a:pt x="258127" y="1571625"/>
                  </a:cubicBezTo>
                  <a:close/>
                  <a:moveTo>
                    <a:pt x="216217" y="1524000"/>
                  </a:moveTo>
                  <a:lnTo>
                    <a:pt x="1687830" y="1524000"/>
                  </a:lnTo>
                  <a:cubicBezTo>
                    <a:pt x="1684972" y="1526858"/>
                    <a:pt x="1683067" y="1530667"/>
                    <a:pt x="1680209" y="1533525"/>
                  </a:cubicBezTo>
                  <a:lnTo>
                    <a:pt x="223837" y="1533525"/>
                  </a:lnTo>
                  <a:cubicBezTo>
                    <a:pt x="221932" y="1530667"/>
                    <a:pt x="219074" y="1526858"/>
                    <a:pt x="216217" y="1524000"/>
                  </a:cubicBezTo>
                  <a:close/>
                  <a:moveTo>
                    <a:pt x="180022" y="1476375"/>
                  </a:moveTo>
                  <a:lnTo>
                    <a:pt x="1724977" y="1476375"/>
                  </a:lnTo>
                  <a:cubicBezTo>
                    <a:pt x="1723072" y="1479233"/>
                    <a:pt x="1720215" y="1483042"/>
                    <a:pt x="1718310" y="1485900"/>
                  </a:cubicBezTo>
                  <a:lnTo>
                    <a:pt x="186690" y="1485900"/>
                  </a:lnTo>
                  <a:cubicBezTo>
                    <a:pt x="184785" y="1483042"/>
                    <a:pt x="181927" y="1479233"/>
                    <a:pt x="180022" y="1476375"/>
                  </a:cubicBezTo>
                  <a:close/>
                  <a:moveTo>
                    <a:pt x="147637" y="1428750"/>
                  </a:moveTo>
                  <a:lnTo>
                    <a:pt x="1756410" y="1428750"/>
                  </a:lnTo>
                  <a:cubicBezTo>
                    <a:pt x="1754505" y="1431608"/>
                    <a:pt x="1752600" y="1435417"/>
                    <a:pt x="1750695" y="1438275"/>
                  </a:cubicBezTo>
                  <a:lnTo>
                    <a:pt x="153352" y="1438275"/>
                  </a:lnTo>
                  <a:cubicBezTo>
                    <a:pt x="151447" y="1435417"/>
                    <a:pt x="149542" y="1431608"/>
                    <a:pt x="147637" y="1428750"/>
                  </a:cubicBezTo>
                  <a:close/>
                  <a:moveTo>
                    <a:pt x="119062" y="1381125"/>
                  </a:moveTo>
                  <a:lnTo>
                    <a:pt x="1785937" y="1381125"/>
                  </a:lnTo>
                  <a:cubicBezTo>
                    <a:pt x="1784032" y="1383983"/>
                    <a:pt x="1782127" y="1387792"/>
                    <a:pt x="1780222" y="1390650"/>
                  </a:cubicBezTo>
                  <a:lnTo>
                    <a:pt x="124777" y="1390650"/>
                  </a:lnTo>
                  <a:cubicBezTo>
                    <a:pt x="122872" y="1387792"/>
                    <a:pt x="120967" y="1383983"/>
                    <a:pt x="119062" y="1381125"/>
                  </a:cubicBezTo>
                  <a:close/>
                  <a:moveTo>
                    <a:pt x="95250" y="1333500"/>
                  </a:moveTo>
                  <a:lnTo>
                    <a:pt x="1810703" y="1333500"/>
                  </a:lnTo>
                  <a:cubicBezTo>
                    <a:pt x="1808798" y="1336358"/>
                    <a:pt x="1807845" y="1340167"/>
                    <a:pt x="1805940" y="1343025"/>
                  </a:cubicBezTo>
                  <a:lnTo>
                    <a:pt x="100013" y="1343025"/>
                  </a:lnTo>
                  <a:cubicBezTo>
                    <a:pt x="98108" y="1340167"/>
                    <a:pt x="97155" y="1336358"/>
                    <a:pt x="95250" y="1333500"/>
                  </a:cubicBezTo>
                  <a:close/>
                  <a:moveTo>
                    <a:pt x="73342" y="1285875"/>
                  </a:moveTo>
                  <a:lnTo>
                    <a:pt x="1830705" y="1285875"/>
                  </a:lnTo>
                  <a:cubicBezTo>
                    <a:pt x="1829752" y="1288733"/>
                    <a:pt x="1827847" y="1292542"/>
                    <a:pt x="1826895" y="1295400"/>
                  </a:cubicBezTo>
                  <a:lnTo>
                    <a:pt x="77152" y="1295400"/>
                  </a:lnTo>
                  <a:cubicBezTo>
                    <a:pt x="76200" y="1292542"/>
                    <a:pt x="74295" y="1288733"/>
                    <a:pt x="73342" y="1285875"/>
                  </a:cubicBezTo>
                  <a:close/>
                  <a:moveTo>
                    <a:pt x="55245" y="1238250"/>
                  </a:moveTo>
                  <a:lnTo>
                    <a:pt x="1850708" y="1238250"/>
                  </a:lnTo>
                  <a:cubicBezTo>
                    <a:pt x="1848803" y="1241108"/>
                    <a:pt x="1847850" y="1244917"/>
                    <a:pt x="1846898" y="1247775"/>
                  </a:cubicBezTo>
                  <a:lnTo>
                    <a:pt x="59055" y="1247775"/>
                  </a:lnTo>
                  <a:cubicBezTo>
                    <a:pt x="57150" y="1244917"/>
                    <a:pt x="56197" y="1241108"/>
                    <a:pt x="55245" y="1238250"/>
                  </a:cubicBezTo>
                  <a:close/>
                  <a:moveTo>
                    <a:pt x="40004" y="1190625"/>
                  </a:moveTo>
                  <a:lnTo>
                    <a:pt x="1865947" y="1190625"/>
                  </a:lnTo>
                  <a:cubicBezTo>
                    <a:pt x="1864994" y="1193483"/>
                    <a:pt x="1864042" y="1197292"/>
                    <a:pt x="1863089" y="1200150"/>
                  </a:cubicBezTo>
                  <a:lnTo>
                    <a:pt x="42862" y="1200150"/>
                  </a:lnTo>
                  <a:cubicBezTo>
                    <a:pt x="41909" y="1197292"/>
                    <a:pt x="40957" y="1193483"/>
                    <a:pt x="40004" y="1190625"/>
                  </a:cubicBezTo>
                  <a:close/>
                  <a:moveTo>
                    <a:pt x="26669" y="1143000"/>
                  </a:moveTo>
                  <a:lnTo>
                    <a:pt x="1878329" y="1143000"/>
                  </a:lnTo>
                  <a:cubicBezTo>
                    <a:pt x="1878329" y="1145858"/>
                    <a:pt x="1877377" y="1149667"/>
                    <a:pt x="1876424" y="1152525"/>
                  </a:cubicBezTo>
                  <a:lnTo>
                    <a:pt x="29526" y="1152525"/>
                  </a:lnTo>
                  <a:cubicBezTo>
                    <a:pt x="28574" y="1149667"/>
                    <a:pt x="27622" y="1145858"/>
                    <a:pt x="26669" y="1143000"/>
                  </a:cubicBezTo>
                  <a:close/>
                  <a:moveTo>
                    <a:pt x="16192" y="1095375"/>
                  </a:moveTo>
                  <a:lnTo>
                    <a:pt x="1888807" y="1095375"/>
                  </a:lnTo>
                  <a:cubicBezTo>
                    <a:pt x="1887855" y="1098233"/>
                    <a:pt x="1887855" y="1102042"/>
                    <a:pt x="1886902" y="1104900"/>
                  </a:cubicBezTo>
                  <a:lnTo>
                    <a:pt x="18097" y="1104900"/>
                  </a:lnTo>
                  <a:cubicBezTo>
                    <a:pt x="17144" y="1102042"/>
                    <a:pt x="17144" y="1098233"/>
                    <a:pt x="16192" y="1095375"/>
                  </a:cubicBezTo>
                  <a:close/>
                  <a:moveTo>
                    <a:pt x="8572" y="1047750"/>
                  </a:moveTo>
                  <a:lnTo>
                    <a:pt x="1896427" y="1047750"/>
                  </a:lnTo>
                  <a:cubicBezTo>
                    <a:pt x="1896427" y="1050608"/>
                    <a:pt x="1895475" y="1054417"/>
                    <a:pt x="1895475" y="1057275"/>
                  </a:cubicBezTo>
                  <a:lnTo>
                    <a:pt x="9525" y="1057275"/>
                  </a:lnTo>
                  <a:cubicBezTo>
                    <a:pt x="9525" y="1054417"/>
                    <a:pt x="8572" y="1050608"/>
                    <a:pt x="8572" y="1047750"/>
                  </a:cubicBezTo>
                  <a:close/>
                  <a:moveTo>
                    <a:pt x="3810" y="1000125"/>
                  </a:moveTo>
                  <a:lnTo>
                    <a:pt x="1902143" y="1000125"/>
                  </a:lnTo>
                  <a:cubicBezTo>
                    <a:pt x="1902143" y="1002983"/>
                    <a:pt x="1901190" y="1006792"/>
                    <a:pt x="1901190" y="1009650"/>
                  </a:cubicBezTo>
                  <a:lnTo>
                    <a:pt x="4762" y="1009650"/>
                  </a:lnTo>
                  <a:cubicBezTo>
                    <a:pt x="4762" y="1006792"/>
                    <a:pt x="3810" y="1002983"/>
                    <a:pt x="3810" y="1000125"/>
                  </a:cubicBezTo>
                  <a:close/>
                  <a:moveTo>
                    <a:pt x="952" y="952500"/>
                  </a:moveTo>
                  <a:lnTo>
                    <a:pt x="1904047" y="952500"/>
                  </a:lnTo>
                  <a:cubicBezTo>
                    <a:pt x="1904047" y="955358"/>
                    <a:pt x="1904047" y="959167"/>
                    <a:pt x="1904047" y="962025"/>
                  </a:cubicBezTo>
                  <a:lnTo>
                    <a:pt x="952" y="962025"/>
                  </a:lnTo>
                  <a:cubicBezTo>
                    <a:pt x="952" y="959167"/>
                    <a:pt x="952" y="955358"/>
                    <a:pt x="952" y="952500"/>
                  </a:cubicBezTo>
                  <a:close/>
                  <a:moveTo>
                    <a:pt x="0" y="904875"/>
                  </a:moveTo>
                  <a:lnTo>
                    <a:pt x="1905000" y="904875"/>
                  </a:lnTo>
                  <a:cubicBezTo>
                    <a:pt x="1905000" y="907733"/>
                    <a:pt x="1905000" y="911542"/>
                    <a:pt x="1905000" y="914400"/>
                  </a:cubicBezTo>
                  <a:lnTo>
                    <a:pt x="0" y="914400"/>
                  </a:lnTo>
                  <a:cubicBezTo>
                    <a:pt x="0" y="911542"/>
                    <a:pt x="0" y="907733"/>
                    <a:pt x="0" y="904875"/>
                  </a:cubicBezTo>
                  <a:close/>
                  <a:moveTo>
                    <a:pt x="1905" y="857250"/>
                  </a:moveTo>
                  <a:lnTo>
                    <a:pt x="1902142" y="857250"/>
                  </a:lnTo>
                  <a:cubicBezTo>
                    <a:pt x="1903095" y="860108"/>
                    <a:pt x="1903095" y="863917"/>
                    <a:pt x="1903095" y="866775"/>
                  </a:cubicBezTo>
                  <a:lnTo>
                    <a:pt x="952" y="866775"/>
                  </a:lnTo>
                  <a:cubicBezTo>
                    <a:pt x="1905" y="863917"/>
                    <a:pt x="1905" y="860108"/>
                    <a:pt x="1905" y="857250"/>
                  </a:cubicBezTo>
                  <a:close/>
                  <a:moveTo>
                    <a:pt x="6667" y="809625"/>
                  </a:moveTo>
                  <a:lnTo>
                    <a:pt x="1899285" y="809625"/>
                  </a:lnTo>
                  <a:cubicBezTo>
                    <a:pt x="1899285" y="812483"/>
                    <a:pt x="1900238" y="816292"/>
                    <a:pt x="1900238" y="819150"/>
                  </a:cubicBezTo>
                  <a:lnTo>
                    <a:pt x="5715" y="819150"/>
                  </a:lnTo>
                  <a:cubicBezTo>
                    <a:pt x="5715" y="816292"/>
                    <a:pt x="6667" y="812483"/>
                    <a:pt x="6667" y="809625"/>
                  </a:cubicBezTo>
                  <a:close/>
                  <a:moveTo>
                    <a:pt x="13335" y="762000"/>
                  </a:moveTo>
                  <a:lnTo>
                    <a:pt x="1891665" y="762000"/>
                  </a:lnTo>
                  <a:cubicBezTo>
                    <a:pt x="1892618" y="764858"/>
                    <a:pt x="1892618" y="768667"/>
                    <a:pt x="1893570" y="771525"/>
                  </a:cubicBezTo>
                  <a:lnTo>
                    <a:pt x="11430" y="771525"/>
                  </a:lnTo>
                  <a:cubicBezTo>
                    <a:pt x="12382" y="768667"/>
                    <a:pt x="12382" y="764858"/>
                    <a:pt x="13335" y="762000"/>
                  </a:cubicBezTo>
                  <a:close/>
                  <a:moveTo>
                    <a:pt x="21907" y="714375"/>
                  </a:moveTo>
                  <a:lnTo>
                    <a:pt x="1883092" y="714375"/>
                  </a:lnTo>
                  <a:cubicBezTo>
                    <a:pt x="1884045" y="717233"/>
                    <a:pt x="1884045" y="721042"/>
                    <a:pt x="1884997" y="723900"/>
                  </a:cubicBezTo>
                  <a:lnTo>
                    <a:pt x="20002" y="723900"/>
                  </a:lnTo>
                  <a:cubicBezTo>
                    <a:pt x="20955" y="721042"/>
                    <a:pt x="20955" y="717233"/>
                    <a:pt x="21907" y="714375"/>
                  </a:cubicBezTo>
                  <a:close/>
                  <a:moveTo>
                    <a:pt x="34289" y="666750"/>
                  </a:moveTo>
                  <a:lnTo>
                    <a:pt x="1870710" y="666750"/>
                  </a:lnTo>
                  <a:cubicBezTo>
                    <a:pt x="1871662" y="669608"/>
                    <a:pt x="1872615" y="673417"/>
                    <a:pt x="1873567" y="676275"/>
                  </a:cubicBezTo>
                  <a:lnTo>
                    <a:pt x="31432" y="676275"/>
                  </a:lnTo>
                  <a:cubicBezTo>
                    <a:pt x="32385" y="673417"/>
                    <a:pt x="33337" y="669608"/>
                    <a:pt x="34289" y="666750"/>
                  </a:cubicBezTo>
                  <a:close/>
                  <a:moveTo>
                    <a:pt x="48577" y="619125"/>
                  </a:moveTo>
                  <a:lnTo>
                    <a:pt x="1857375" y="619125"/>
                  </a:lnTo>
                  <a:cubicBezTo>
                    <a:pt x="1858328" y="621983"/>
                    <a:pt x="1859280" y="625792"/>
                    <a:pt x="1860233" y="628650"/>
                  </a:cubicBezTo>
                  <a:lnTo>
                    <a:pt x="45720" y="628650"/>
                  </a:lnTo>
                  <a:cubicBezTo>
                    <a:pt x="46672" y="625792"/>
                    <a:pt x="47625" y="621983"/>
                    <a:pt x="48577" y="619125"/>
                  </a:cubicBezTo>
                  <a:close/>
                  <a:moveTo>
                    <a:pt x="65722" y="571500"/>
                  </a:moveTo>
                  <a:lnTo>
                    <a:pt x="1839277" y="571500"/>
                  </a:lnTo>
                  <a:cubicBezTo>
                    <a:pt x="1840230" y="574357"/>
                    <a:pt x="1842135" y="578168"/>
                    <a:pt x="1843087" y="581025"/>
                  </a:cubicBezTo>
                  <a:lnTo>
                    <a:pt x="61912" y="581025"/>
                  </a:lnTo>
                  <a:cubicBezTo>
                    <a:pt x="62864" y="578168"/>
                    <a:pt x="64770" y="574357"/>
                    <a:pt x="65722" y="571500"/>
                  </a:cubicBezTo>
                  <a:close/>
                  <a:moveTo>
                    <a:pt x="85725" y="523875"/>
                  </a:moveTo>
                  <a:lnTo>
                    <a:pt x="1819275" y="523875"/>
                  </a:lnTo>
                  <a:cubicBezTo>
                    <a:pt x="1820227" y="526732"/>
                    <a:pt x="1822132" y="530543"/>
                    <a:pt x="1823085" y="533400"/>
                  </a:cubicBezTo>
                  <a:lnTo>
                    <a:pt x="80962" y="533400"/>
                  </a:lnTo>
                  <a:cubicBezTo>
                    <a:pt x="82867" y="530543"/>
                    <a:pt x="83820" y="526732"/>
                    <a:pt x="85725" y="523875"/>
                  </a:cubicBezTo>
                  <a:close/>
                  <a:moveTo>
                    <a:pt x="109538" y="476250"/>
                  </a:moveTo>
                  <a:lnTo>
                    <a:pt x="1796415" y="476250"/>
                  </a:lnTo>
                  <a:cubicBezTo>
                    <a:pt x="1798320" y="479107"/>
                    <a:pt x="1799273" y="482918"/>
                    <a:pt x="1801178" y="485775"/>
                  </a:cubicBezTo>
                  <a:lnTo>
                    <a:pt x="104775" y="485775"/>
                  </a:lnTo>
                  <a:cubicBezTo>
                    <a:pt x="105728" y="482918"/>
                    <a:pt x="107633" y="479107"/>
                    <a:pt x="109538" y="476250"/>
                  </a:cubicBezTo>
                  <a:close/>
                  <a:moveTo>
                    <a:pt x="136207" y="428625"/>
                  </a:moveTo>
                  <a:lnTo>
                    <a:pt x="1768792" y="428625"/>
                  </a:lnTo>
                  <a:cubicBezTo>
                    <a:pt x="1770697" y="431482"/>
                    <a:pt x="1772602" y="435293"/>
                    <a:pt x="1774507" y="438150"/>
                  </a:cubicBezTo>
                  <a:lnTo>
                    <a:pt x="130492" y="438150"/>
                  </a:lnTo>
                  <a:cubicBezTo>
                    <a:pt x="132397" y="435293"/>
                    <a:pt x="134302" y="431482"/>
                    <a:pt x="136207" y="428625"/>
                  </a:cubicBezTo>
                  <a:close/>
                  <a:moveTo>
                    <a:pt x="166687" y="381000"/>
                  </a:moveTo>
                  <a:lnTo>
                    <a:pt x="1738312" y="381000"/>
                  </a:lnTo>
                  <a:cubicBezTo>
                    <a:pt x="1741169" y="383857"/>
                    <a:pt x="1743074" y="387668"/>
                    <a:pt x="1744979" y="390525"/>
                  </a:cubicBezTo>
                  <a:lnTo>
                    <a:pt x="160019" y="390525"/>
                  </a:lnTo>
                  <a:cubicBezTo>
                    <a:pt x="162877" y="387668"/>
                    <a:pt x="164782" y="383857"/>
                    <a:pt x="166687" y="381000"/>
                  </a:cubicBezTo>
                  <a:close/>
                  <a:moveTo>
                    <a:pt x="201929" y="333375"/>
                  </a:moveTo>
                  <a:lnTo>
                    <a:pt x="1704022" y="333375"/>
                  </a:lnTo>
                  <a:cubicBezTo>
                    <a:pt x="1706879" y="336232"/>
                    <a:pt x="1708784" y="340043"/>
                    <a:pt x="1711642" y="342900"/>
                  </a:cubicBezTo>
                  <a:lnTo>
                    <a:pt x="194309" y="342900"/>
                  </a:lnTo>
                  <a:cubicBezTo>
                    <a:pt x="197167" y="340043"/>
                    <a:pt x="199072" y="336232"/>
                    <a:pt x="201929" y="333375"/>
                  </a:cubicBezTo>
                  <a:close/>
                  <a:moveTo>
                    <a:pt x="240981" y="285750"/>
                  </a:moveTo>
                  <a:lnTo>
                    <a:pt x="1664017" y="285750"/>
                  </a:lnTo>
                  <a:cubicBezTo>
                    <a:pt x="1666874" y="288607"/>
                    <a:pt x="1669732" y="292418"/>
                    <a:pt x="1672589" y="295275"/>
                  </a:cubicBezTo>
                  <a:lnTo>
                    <a:pt x="232409" y="295275"/>
                  </a:lnTo>
                  <a:cubicBezTo>
                    <a:pt x="235267" y="292418"/>
                    <a:pt x="238124" y="288607"/>
                    <a:pt x="240981" y="285750"/>
                  </a:cubicBezTo>
                  <a:close/>
                  <a:moveTo>
                    <a:pt x="286702" y="238125"/>
                  </a:moveTo>
                  <a:lnTo>
                    <a:pt x="1619250" y="238125"/>
                  </a:lnTo>
                  <a:cubicBezTo>
                    <a:pt x="1622107" y="240982"/>
                    <a:pt x="1625917" y="244793"/>
                    <a:pt x="1628775" y="247650"/>
                  </a:cubicBezTo>
                  <a:lnTo>
                    <a:pt x="277177" y="247650"/>
                  </a:lnTo>
                  <a:cubicBezTo>
                    <a:pt x="280034" y="244793"/>
                    <a:pt x="282892" y="240982"/>
                    <a:pt x="286702" y="238125"/>
                  </a:cubicBezTo>
                  <a:close/>
                  <a:moveTo>
                    <a:pt x="339090" y="190500"/>
                  </a:moveTo>
                  <a:lnTo>
                    <a:pt x="1565910" y="190500"/>
                  </a:lnTo>
                  <a:cubicBezTo>
                    <a:pt x="1569720" y="193357"/>
                    <a:pt x="1573530" y="197168"/>
                    <a:pt x="1577340" y="200025"/>
                  </a:cubicBezTo>
                  <a:lnTo>
                    <a:pt x="327660" y="200025"/>
                  </a:lnTo>
                  <a:cubicBezTo>
                    <a:pt x="331470" y="197168"/>
                    <a:pt x="335280" y="193357"/>
                    <a:pt x="339090" y="190500"/>
                  </a:cubicBezTo>
                  <a:close/>
                  <a:moveTo>
                    <a:pt x="400049" y="142875"/>
                  </a:moveTo>
                  <a:lnTo>
                    <a:pt x="1503997" y="142875"/>
                  </a:lnTo>
                  <a:cubicBezTo>
                    <a:pt x="1508759" y="145733"/>
                    <a:pt x="1512569" y="149542"/>
                    <a:pt x="1517332" y="152400"/>
                  </a:cubicBezTo>
                  <a:lnTo>
                    <a:pt x="386714" y="152400"/>
                  </a:lnTo>
                  <a:cubicBezTo>
                    <a:pt x="391477" y="149542"/>
                    <a:pt x="395287" y="145733"/>
                    <a:pt x="400049" y="142875"/>
                  </a:cubicBezTo>
                  <a:close/>
                  <a:moveTo>
                    <a:pt x="474345" y="95250"/>
                  </a:moveTo>
                  <a:lnTo>
                    <a:pt x="1429702" y="95250"/>
                  </a:lnTo>
                  <a:cubicBezTo>
                    <a:pt x="1435417" y="98108"/>
                    <a:pt x="1440180" y="101917"/>
                    <a:pt x="1445895" y="104775"/>
                  </a:cubicBezTo>
                  <a:lnTo>
                    <a:pt x="458152" y="104775"/>
                  </a:lnTo>
                  <a:cubicBezTo>
                    <a:pt x="463867" y="101917"/>
                    <a:pt x="468630" y="98108"/>
                    <a:pt x="474345" y="95250"/>
                  </a:cubicBezTo>
                  <a:close/>
                  <a:moveTo>
                    <a:pt x="568642" y="47625"/>
                  </a:moveTo>
                  <a:lnTo>
                    <a:pt x="1337309" y="47625"/>
                  </a:lnTo>
                  <a:cubicBezTo>
                    <a:pt x="1343977" y="50483"/>
                    <a:pt x="1351597" y="54292"/>
                    <a:pt x="1358265" y="57150"/>
                  </a:cubicBezTo>
                  <a:lnTo>
                    <a:pt x="547687" y="57150"/>
                  </a:lnTo>
                  <a:cubicBezTo>
                    <a:pt x="554355" y="54292"/>
                    <a:pt x="561975" y="50483"/>
                    <a:pt x="568642" y="47625"/>
                  </a:cubicBezTo>
                  <a:close/>
                  <a:moveTo>
                    <a:pt x="702945" y="0"/>
                  </a:moveTo>
                  <a:lnTo>
                    <a:pt x="1203960" y="0"/>
                  </a:lnTo>
                  <a:cubicBezTo>
                    <a:pt x="1214438" y="2858"/>
                    <a:pt x="1225867" y="5715"/>
                    <a:pt x="1236345" y="9525"/>
                  </a:cubicBezTo>
                  <a:lnTo>
                    <a:pt x="670560" y="9525"/>
                  </a:lnTo>
                  <a:cubicBezTo>
                    <a:pt x="681037" y="5715"/>
                    <a:pt x="692467" y="2858"/>
                    <a:pt x="702945" y="0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0" name="任意多边形: 形状 7">
              <a:extLst>
                <a:ext uri="{FF2B5EF4-FFF2-40B4-BE49-F238E27FC236}">
                  <a16:creationId xmlns:a16="http://schemas.microsoft.com/office/drawing/2014/main" id="{B12EC4E2-8D6F-42F4-9502-A731433702A2}"/>
                </a:ext>
              </a:extLst>
            </p:cNvPr>
            <p:cNvSpPr/>
            <p:nvPr/>
          </p:nvSpPr>
          <p:spPr>
            <a:xfrm>
              <a:off x="9421670" y="0"/>
              <a:ext cx="2770331" cy="1398732"/>
            </a:xfrm>
            <a:custGeom>
              <a:avLst/>
              <a:gdLst>
                <a:gd name="connsiteX0" fmla="*/ 685 w 2770331"/>
                <a:gd name="connsiteY0" fmla="*/ 0 h 1398732"/>
                <a:gd name="connsiteX1" fmla="*/ 2769647 w 2770331"/>
                <a:gd name="connsiteY1" fmla="*/ 0 h 1398732"/>
                <a:gd name="connsiteX2" fmla="*/ 2770331 w 2770331"/>
                <a:gd name="connsiteY2" fmla="*/ 13546 h 1398732"/>
                <a:gd name="connsiteX3" fmla="*/ 2770331 w 2770331"/>
                <a:gd name="connsiteY3" fmla="*/ 13586 h 1398732"/>
                <a:gd name="connsiteX4" fmla="*/ 2763181 w 2770331"/>
                <a:gd name="connsiteY4" fmla="*/ 155191 h 1398732"/>
                <a:gd name="connsiteX5" fmla="*/ 1385167 w 2770331"/>
                <a:gd name="connsiteY5" fmla="*/ 1398732 h 1398732"/>
                <a:gd name="connsiteX6" fmla="*/ 0 w 2770331"/>
                <a:gd name="connsiteY6" fmla="*/ 13566 h 1398732"/>
                <a:gd name="connsiteX7" fmla="*/ 685 w 2770331"/>
                <a:gd name="connsiteY7" fmla="*/ 0 h 1398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70331" h="1398732">
                  <a:moveTo>
                    <a:pt x="685" y="0"/>
                  </a:moveTo>
                  <a:lnTo>
                    <a:pt x="2769647" y="0"/>
                  </a:lnTo>
                  <a:lnTo>
                    <a:pt x="2770331" y="13546"/>
                  </a:lnTo>
                  <a:lnTo>
                    <a:pt x="2770331" y="13586"/>
                  </a:lnTo>
                  <a:lnTo>
                    <a:pt x="2763181" y="155191"/>
                  </a:lnTo>
                  <a:cubicBezTo>
                    <a:pt x="2692246" y="853670"/>
                    <a:pt x="2102359" y="1398732"/>
                    <a:pt x="1385167" y="1398732"/>
                  </a:cubicBezTo>
                  <a:cubicBezTo>
                    <a:pt x="620160" y="1398732"/>
                    <a:pt x="0" y="778572"/>
                    <a:pt x="0" y="13566"/>
                  </a:cubicBezTo>
                  <a:lnTo>
                    <a:pt x="685" y="0"/>
                  </a:lnTo>
                  <a:close/>
                </a:path>
              </a:pathLst>
            </a:custGeom>
            <a:grpFill/>
            <a:ln w="110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  <p:sp>
          <p:nvSpPr>
            <p:cNvPr id="11" name="任意多边形: 形状 8">
              <a:extLst>
                <a:ext uri="{FF2B5EF4-FFF2-40B4-BE49-F238E27FC236}">
                  <a16:creationId xmlns:a16="http://schemas.microsoft.com/office/drawing/2014/main" id="{2D272403-40BD-427A-A3AF-22CDE281BD98}"/>
                </a:ext>
              </a:extLst>
            </p:cNvPr>
            <p:cNvSpPr/>
            <p:nvPr/>
          </p:nvSpPr>
          <p:spPr>
            <a:xfrm>
              <a:off x="5252643" y="3384444"/>
              <a:ext cx="4217150" cy="3473556"/>
            </a:xfrm>
            <a:custGeom>
              <a:avLst/>
              <a:gdLst>
                <a:gd name="connsiteX0" fmla="*/ 2852892 w 4217150"/>
                <a:gd name="connsiteY0" fmla="*/ 466 h 3473556"/>
                <a:gd name="connsiteX1" fmla="*/ 3516107 w 4217150"/>
                <a:gd name="connsiteY1" fmla="*/ 187901 h 3473556"/>
                <a:gd name="connsiteX2" fmla="*/ 4029249 w 4217150"/>
                <a:gd name="connsiteY2" fmla="*/ 2103072 h 3473556"/>
                <a:gd name="connsiteX3" fmla="*/ 3237888 w 4217150"/>
                <a:gd name="connsiteY3" fmla="*/ 3473556 h 3473556"/>
                <a:gd name="connsiteX4" fmla="*/ 0 w 4217150"/>
                <a:gd name="connsiteY4" fmla="*/ 3473556 h 3473556"/>
                <a:gd name="connsiteX5" fmla="*/ 1600936 w 4217150"/>
                <a:gd name="connsiteY5" fmla="*/ 701044 h 3473556"/>
                <a:gd name="connsiteX6" fmla="*/ 2852892 w 4217150"/>
                <a:gd name="connsiteY6" fmla="*/ 466 h 3473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7150" h="3473556">
                  <a:moveTo>
                    <a:pt x="2852892" y="466"/>
                  </a:moveTo>
                  <a:cubicBezTo>
                    <a:pt x="3078904" y="6295"/>
                    <a:pt x="3306679" y="66976"/>
                    <a:pt x="3516107" y="187901"/>
                  </a:cubicBezTo>
                  <a:cubicBezTo>
                    <a:pt x="4186277" y="574861"/>
                    <a:pt x="4416209" y="1432902"/>
                    <a:pt x="4029249" y="2103072"/>
                  </a:cubicBezTo>
                  <a:lnTo>
                    <a:pt x="3237888" y="3473556"/>
                  </a:lnTo>
                  <a:lnTo>
                    <a:pt x="0" y="3473556"/>
                  </a:lnTo>
                  <a:lnTo>
                    <a:pt x="1600936" y="701044"/>
                  </a:lnTo>
                  <a:cubicBezTo>
                    <a:pt x="1866971" y="240302"/>
                    <a:pt x="2355666" y="-12359"/>
                    <a:pt x="2852892" y="466"/>
                  </a:cubicBezTo>
                  <a:close/>
                </a:path>
              </a:pathLst>
            </a:custGeom>
            <a:grpFill/>
            <a:ln w="1401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zh-CN" altLang="en-US"/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zh-CN">
                <a:latin typeface="Agency FB" panose="020B0503020202020204" pitchFamily="34" charset="0"/>
              </a:rPr>
              <a:t>Interferencia de Radio Frecuencia (RFI)</a:t>
            </a:r>
            <a:endParaRPr lang="zh-CN" altLang="en-US">
              <a:latin typeface="Agency FB" panose="020B0503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" name="Rectángulo 2"/>
          <p:cNvSpPr/>
          <p:nvPr/>
        </p:nvSpPr>
        <p:spPr>
          <a:xfrm>
            <a:off x="814926" y="1352312"/>
            <a:ext cx="5281074" cy="923330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Esta perturbación puede interrumpir, degradar o limitar el rendimiento de ese sistema. Atacan a la calidad de las señales en los medios.</a:t>
            </a:r>
            <a:endParaRPr lang="es-MX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7299462" y="2310172"/>
            <a:ext cx="2831405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MX">
                <a:latin typeface="Cambria" panose="02040503050406030204" pitchFamily="18" charset="0"/>
                <a:ea typeface="Cambria" panose="02040503050406030204" pitchFamily="18" charset="0"/>
              </a:rPr>
              <a:t>Fuentes de RFI incluyen los sistemas de radio</a:t>
            </a:r>
          </a:p>
        </p:txBody>
      </p:sp>
      <p:sp>
        <p:nvSpPr>
          <p:cNvPr id="7" name="Rectángulo 6"/>
          <p:cNvSpPr/>
          <p:nvPr/>
        </p:nvSpPr>
        <p:spPr>
          <a:xfrm>
            <a:off x="814927" y="3952437"/>
            <a:ext cx="5281074" cy="2031325"/>
          </a:xfrm>
          <a:prstGeom prst="rect">
            <a:avLst/>
          </a:prstGeom>
          <a:ln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Dos formas de prevenir EMI/RFI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A través del blindaje de los alambres en un cable con un trenzado metálico o de aluminio. (lo cual incrementa el costo y diámetro del cable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A través de la cancelación de los hilos, que son trenzados en pares para proveer </a:t>
            </a:r>
            <a:r>
              <a:rPr lang="es-ES" err="1">
                <a:latin typeface="Cambria" panose="02040503050406030204" pitchFamily="18" charset="0"/>
                <a:ea typeface="Cambria" panose="02040503050406030204" pitchFamily="18" charset="0"/>
              </a:rPr>
              <a:t>semi-blindaje</a:t>
            </a:r>
            <a:r>
              <a:rPr lang="es-ES">
                <a:latin typeface="Cambria" panose="02040503050406030204" pitchFamily="18" charset="0"/>
                <a:ea typeface="Cambria" panose="02040503050406030204" pitchFamily="18" charset="0"/>
              </a:rPr>
              <a:t> dentro del medio de red. </a:t>
            </a:r>
            <a:endParaRPr lang="es-MX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9114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27188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Application>Microsoft Office PowerPoint</Application>
  <PresentationFormat>Widescreen</PresentationFormat>
  <Slides>11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主题5</vt:lpstr>
      <vt:lpstr>INTERFERENCIAS</vt:lpstr>
      <vt:lpstr>PowerPoint Presentation</vt:lpstr>
      <vt:lpstr>PowerPoint Presentation</vt:lpstr>
      <vt:lpstr>Interferencia Electromagnética (EMI)</vt:lpstr>
      <vt:lpstr>Interferencia Electromagnética (EMI) </vt:lpstr>
      <vt:lpstr>Fuentes de Interferencia</vt:lpstr>
      <vt:lpstr>PowerPoint Presentation</vt:lpstr>
      <vt:lpstr>Interferencia de Radio Frecuencia (RFI)</vt:lpstr>
      <vt:lpstr>Interferencia de Radio Frecuencia (RFI)</vt:lpstr>
      <vt:lpstr>PowerPoint Presentation</vt:lpstr>
      <vt:lpstr>Gracia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revision>1</cp:revision>
  <cp:lastPrinted>2019-04-27T16:00:00Z</cp:lastPrinted>
  <dcterms:created xsi:type="dcterms:W3CDTF">2019-04-27T16:00:00Z</dcterms:created>
  <dcterms:modified xsi:type="dcterms:W3CDTF">2020-08-06T22:2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